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353" r:id="rId2"/>
    <p:sldId id="592" r:id="rId3"/>
    <p:sldId id="638" r:id="rId4"/>
    <p:sldId id="640" r:id="rId5"/>
    <p:sldId id="639" r:id="rId6"/>
    <p:sldId id="609" r:id="rId7"/>
    <p:sldId id="612" r:id="rId8"/>
    <p:sldId id="642" r:id="rId9"/>
    <p:sldId id="634" r:id="rId10"/>
  </p:sldIdLst>
  <p:sldSz cx="9144000" cy="5143500" type="screen16x9"/>
  <p:notesSz cx="6858000" cy="9144000"/>
  <p:defaultText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20">
          <p15:clr>
            <a:srgbClr val="A4A3A4"/>
          </p15:clr>
        </p15:guide>
        <p15:guide id="4"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 lastIdx="1" clrIdx="0"/>
  <p:cmAuthor id="2" name="Ineta Zalāne (IKSD)" initials="IZ(" lastIdx="1" clrIdx="1">
    <p:extLst>
      <p:ext uri="{19B8F6BF-5375-455C-9EA6-DF929625EA0E}">
        <p15:presenceInfo xmlns:p15="http://schemas.microsoft.com/office/powerpoint/2012/main" userId="S-1-5-21-1421757000-1701381008-1545825941-301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3838"/>
    <a:srgbClr val="FDF400"/>
    <a:srgbClr val="194D60"/>
    <a:srgbClr val="FF7A5F"/>
    <a:srgbClr val="BAC0CC"/>
    <a:srgbClr val="BAC0CE"/>
    <a:srgbClr val="54616A"/>
    <a:srgbClr val="8A96A2"/>
    <a:srgbClr val="262E31"/>
    <a:srgbClr val="1414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Vidējs stils 2 - izcēlum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Gaišs stils 2 - izcēlums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12" autoAdjust="0"/>
    <p:restoredTop sz="96253" autoAdjust="0"/>
  </p:normalViewPr>
  <p:slideViewPr>
    <p:cSldViewPr snapToGrid="0" showGuides="1">
      <p:cViewPr varScale="1">
        <p:scale>
          <a:sx n="88" d="100"/>
          <a:sy n="88" d="100"/>
        </p:scale>
        <p:origin x="67" y="403"/>
      </p:cViewPr>
      <p:guideLst>
        <p:guide orient="horz" pos="2160"/>
        <p:guide pos="3840"/>
        <p:guide orient="horz" pos="1620"/>
        <p:guide pos="2880"/>
      </p:guideLst>
    </p:cSldViewPr>
  </p:slideViewPr>
  <p:outlineViewPr>
    <p:cViewPr>
      <p:scale>
        <a:sx n="33" d="100"/>
        <a:sy n="33" d="100"/>
      </p:scale>
      <p:origin x="0" y="-11190"/>
    </p:cViewPr>
  </p:outlineViewPr>
  <p:notesTextViewPr>
    <p:cViewPr>
      <p:scale>
        <a:sx n="1" d="1"/>
        <a:sy n="1" d="1"/>
      </p:scale>
      <p:origin x="0" y="0"/>
    </p:cViewPr>
  </p:notesTextViewPr>
  <p:sorterViewPr>
    <p:cViewPr>
      <p:scale>
        <a:sx n="137" d="100"/>
        <a:sy n="137"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436541-BE4E-4B6D-87FC-D03B58728522}" type="datetimeFigureOut">
              <a:rPr lang="en-US" smtClean="0"/>
              <a:t>11/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2F0B62-04AB-4176-900F-BDCD16DA20C8}" type="slidenum">
              <a:rPr lang="en-US" smtClean="0"/>
              <a:t>‹#›</a:t>
            </a:fld>
            <a:endParaRPr lang="en-US"/>
          </a:p>
        </p:txBody>
      </p:sp>
    </p:spTree>
    <p:extLst>
      <p:ext uri="{BB962C8B-B14F-4D97-AF65-F5344CB8AC3E}">
        <p14:creationId xmlns:p14="http://schemas.microsoft.com/office/powerpoint/2010/main" val="2962244257"/>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8331C1-D1B5-4368-91BF-ACC7F8A165A7}" type="datetimeFigureOut">
              <a:rPr lang="en-US" smtClean="0"/>
              <a:t>11/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Tree>
    <p:extLst>
      <p:ext uri="{BB962C8B-B14F-4D97-AF65-F5344CB8AC3E}">
        <p14:creationId xmlns:p14="http://schemas.microsoft.com/office/powerpoint/2010/main" val="3380317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18" name="Picture Placeholder 17"/>
          <p:cNvSpPr>
            <a:spLocks noGrp="1"/>
          </p:cNvSpPr>
          <p:nvPr>
            <p:ph type="pic" sz="quarter" idx="17"/>
          </p:nvPr>
        </p:nvSpPr>
        <p:spPr>
          <a:xfrm>
            <a:off x="7097805" y="1970079"/>
            <a:ext cx="1188635" cy="1188635"/>
          </a:xfrm>
          <a:custGeom>
            <a:avLst/>
            <a:gdLst>
              <a:gd name="connsiteX0" fmla="*/ 792423 w 1584846"/>
              <a:gd name="connsiteY0" fmla="*/ 0 h 1584846"/>
              <a:gd name="connsiteX1" fmla="*/ 1584846 w 1584846"/>
              <a:gd name="connsiteY1" fmla="*/ 792423 h 1584846"/>
              <a:gd name="connsiteX2" fmla="*/ 792423 w 1584846"/>
              <a:gd name="connsiteY2" fmla="*/ 1584846 h 1584846"/>
              <a:gd name="connsiteX3" fmla="*/ 0 w 1584846"/>
              <a:gd name="connsiteY3" fmla="*/ 792423 h 1584846"/>
              <a:gd name="connsiteX4" fmla="*/ 792423 w 1584846"/>
              <a:gd name="connsiteY4" fmla="*/ 0 h 158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846" h="1584846">
                <a:moveTo>
                  <a:pt x="792423" y="0"/>
                </a:moveTo>
                <a:cubicBezTo>
                  <a:pt x="1230066" y="0"/>
                  <a:pt x="1584846" y="354780"/>
                  <a:pt x="1584846" y="792423"/>
                </a:cubicBezTo>
                <a:cubicBezTo>
                  <a:pt x="1584846" y="1230066"/>
                  <a:pt x="1230066" y="1584846"/>
                  <a:pt x="792423" y="1584846"/>
                </a:cubicBezTo>
                <a:cubicBezTo>
                  <a:pt x="354780" y="1584846"/>
                  <a:pt x="0" y="1230066"/>
                  <a:pt x="0" y="792423"/>
                </a:cubicBezTo>
                <a:cubicBezTo>
                  <a:pt x="0" y="354780"/>
                  <a:pt x="354780" y="0"/>
                  <a:pt x="792423" y="0"/>
                </a:cubicBezTo>
                <a:close/>
              </a:path>
            </a:pathLst>
          </a:custGeom>
          <a:solidFill>
            <a:schemeClr val="bg1">
              <a:lumMod val="95000"/>
            </a:schemeClr>
          </a:solidFill>
        </p:spPr>
        <p:txBody>
          <a:bodyPr wrap="square">
            <a:noAutofit/>
          </a:bodyPr>
          <a:lstStyle>
            <a:lvl1pPr>
              <a:defRPr sz="900"/>
            </a:lvl1pPr>
          </a:lstStyle>
          <a:p>
            <a:endParaRPr lang="en-US"/>
          </a:p>
        </p:txBody>
      </p:sp>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
        <p:nvSpPr>
          <p:cNvPr id="21" name="Picture Placeholder 20"/>
          <p:cNvSpPr>
            <a:spLocks noGrp="1"/>
          </p:cNvSpPr>
          <p:nvPr>
            <p:ph type="pic" sz="quarter" idx="14"/>
          </p:nvPr>
        </p:nvSpPr>
        <p:spPr>
          <a:xfrm>
            <a:off x="806482" y="1970079"/>
            <a:ext cx="1188635" cy="1188635"/>
          </a:xfrm>
          <a:custGeom>
            <a:avLst/>
            <a:gdLst>
              <a:gd name="connsiteX0" fmla="*/ 792423 w 1584846"/>
              <a:gd name="connsiteY0" fmla="*/ 0 h 1584846"/>
              <a:gd name="connsiteX1" fmla="*/ 1584846 w 1584846"/>
              <a:gd name="connsiteY1" fmla="*/ 792423 h 1584846"/>
              <a:gd name="connsiteX2" fmla="*/ 792423 w 1584846"/>
              <a:gd name="connsiteY2" fmla="*/ 1584846 h 1584846"/>
              <a:gd name="connsiteX3" fmla="*/ 0 w 1584846"/>
              <a:gd name="connsiteY3" fmla="*/ 792423 h 1584846"/>
              <a:gd name="connsiteX4" fmla="*/ 792423 w 1584846"/>
              <a:gd name="connsiteY4" fmla="*/ 0 h 158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846" h="1584846">
                <a:moveTo>
                  <a:pt x="792423" y="0"/>
                </a:moveTo>
                <a:cubicBezTo>
                  <a:pt x="1230066" y="0"/>
                  <a:pt x="1584846" y="354780"/>
                  <a:pt x="1584846" y="792423"/>
                </a:cubicBezTo>
                <a:cubicBezTo>
                  <a:pt x="1584846" y="1230066"/>
                  <a:pt x="1230066" y="1584846"/>
                  <a:pt x="792423" y="1584846"/>
                </a:cubicBezTo>
                <a:cubicBezTo>
                  <a:pt x="354780" y="1584846"/>
                  <a:pt x="0" y="1230066"/>
                  <a:pt x="0" y="792423"/>
                </a:cubicBezTo>
                <a:cubicBezTo>
                  <a:pt x="0" y="354780"/>
                  <a:pt x="354780" y="0"/>
                  <a:pt x="792423" y="0"/>
                </a:cubicBezTo>
                <a:close/>
              </a:path>
            </a:pathLst>
          </a:custGeom>
          <a:solidFill>
            <a:schemeClr val="bg1">
              <a:lumMod val="95000"/>
            </a:schemeClr>
          </a:solidFill>
        </p:spPr>
        <p:txBody>
          <a:bodyPr wrap="square">
            <a:noAutofit/>
          </a:bodyPr>
          <a:lstStyle>
            <a:lvl1pPr>
              <a:defRPr sz="900"/>
            </a:lvl1pPr>
          </a:lstStyle>
          <a:p>
            <a:endParaRPr lang="en-US"/>
          </a:p>
        </p:txBody>
      </p:sp>
      <p:sp>
        <p:nvSpPr>
          <p:cNvPr id="20" name="Picture Placeholder 19"/>
          <p:cNvSpPr>
            <a:spLocks noGrp="1"/>
          </p:cNvSpPr>
          <p:nvPr>
            <p:ph type="pic" sz="quarter" idx="15"/>
          </p:nvPr>
        </p:nvSpPr>
        <p:spPr>
          <a:xfrm>
            <a:off x="2903590" y="1970079"/>
            <a:ext cx="1188635" cy="1188635"/>
          </a:xfrm>
          <a:custGeom>
            <a:avLst/>
            <a:gdLst>
              <a:gd name="connsiteX0" fmla="*/ 792423 w 1584846"/>
              <a:gd name="connsiteY0" fmla="*/ 0 h 1584846"/>
              <a:gd name="connsiteX1" fmla="*/ 1584846 w 1584846"/>
              <a:gd name="connsiteY1" fmla="*/ 792423 h 1584846"/>
              <a:gd name="connsiteX2" fmla="*/ 792423 w 1584846"/>
              <a:gd name="connsiteY2" fmla="*/ 1584846 h 1584846"/>
              <a:gd name="connsiteX3" fmla="*/ 0 w 1584846"/>
              <a:gd name="connsiteY3" fmla="*/ 792423 h 1584846"/>
              <a:gd name="connsiteX4" fmla="*/ 792423 w 1584846"/>
              <a:gd name="connsiteY4" fmla="*/ 0 h 158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846" h="1584846">
                <a:moveTo>
                  <a:pt x="792423" y="0"/>
                </a:moveTo>
                <a:cubicBezTo>
                  <a:pt x="1230066" y="0"/>
                  <a:pt x="1584846" y="354780"/>
                  <a:pt x="1584846" y="792423"/>
                </a:cubicBezTo>
                <a:cubicBezTo>
                  <a:pt x="1584846" y="1230066"/>
                  <a:pt x="1230066" y="1584846"/>
                  <a:pt x="792423" y="1584846"/>
                </a:cubicBezTo>
                <a:cubicBezTo>
                  <a:pt x="354780" y="1584846"/>
                  <a:pt x="0" y="1230066"/>
                  <a:pt x="0" y="792423"/>
                </a:cubicBezTo>
                <a:cubicBezTo>
                  <a:pt x="0" y="354780"/>
                  <a:pt x="354780" y="0"/>
                  <a:pt x="792423" y="0"/>
                </a:cubicBezTo>
                <a:close/>
              </a:path>
            </a:pathLst>
          </a:custGeom>
          <a:solidFill>
            <a:schemeClr val="bg1">
              <a:lumMod val="95000"/>
            </a:schemeClr>
          </a:solidFill>
        </p:spPr>
        <p:txBody>
          <a:bodyPr wrap="square">
            <a:noAutofit/>
          </a:bodyPr>
          <a:lstStyle>
            <a:lvl1pPr>
              <a:defRPr sz="900"/>
            </a:lvl1pPr>
          </a:lstStyle>
          <a:p>
            <a:endParaRPr lang="en-US"/>
          </a:p>
        </p:txBody>
      </p:sp>
      <p:sp>
        <p:nvSpPr>
          <p:cNvPr id="19" name="Picture Placeholder 18"/>
          <p:cNvSpPr>
            <a:spLocks noGrp="1"/>
          </p:cNvSpPr>
          <p:nvPr>
            <p:ph type="pic" sz="quarter" idx="16"/>
          </p:nvPr>
        </p:nvSpPr>
        <p:spPr>
          <a:xfrm>
            <a:off x="5000698" y="1970079"/>
            <a:ext cx="1188635" cy="1188635"/>
          </a:xfrm>
          <a:custGeom>
            <a:avLst/>
            <a:gdLst>
              <a:gd name="connsiteX0" fmla="*/ 792423 w 1584846"/>
              <a:gd name="connsiteY0" fmla="*/ 0 h 1584846"/>
              <a:gd name="connsiteX1" fmla="*/ 1584846 w 1584846"/>
              <a:gd name="connsiteY1" fmla="*/ 792423 h 1584846"/>
              <a:gd name="connsiteX2" fmla="*/ 792423 w 1584846"/>
              <a:gd name="connsiteY2" fmla="*/ 1584846 h 1584846"/>
              <a:gd name="connsiteX3" fmla="*/ 0 w 1584846"/>
              <a:gd name="connsiteY3" fmla="*/ 792423 h 1584846"/>
              <a:gd name="connsiteX4" fmla="*/ 792423 w 1584846"/>
              <a:gd name="connsiteY4" fmla="*/ 0 h 158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846" h="1584846">
                <a:moveTo>
                  <a:pt x="792423" y="0"/>
                </a:moveTo>
                <a:cubicBezTo>
                  <a:pt x="1230066" y="0"/>
                  <a:pt x="1584846" y="354780"/>
                  <a:pt x="1584846" y="792423"/>
                </a:cubicBezTo>
                <a:cubicBezTo>
                  <a:pt x="1584846" y="1230066"/>
                  <a:pt x="1230066" y="1584846"/>
                  <a:pt x="792423" y="1584846"/>
                </a:cubicBezTo>
                <a:cubicBezTo>
                  <a:pt x="354780" y="1584846"/>
                  <a:pt x="0" y="1230066"/>
                  <a:pt x="0" y="792423"/>
                </a:cubicBezTo>
                <a:cubicBezTo>
                  <a:pt x="0" y="354780"/>
                  <a:pt x="354780" y="0"/>
                  <a:pt x="792423" y="0"/>
                </a:cubicBezTo>
                <a:close/>
              </a:path>
            </a:pathLst>
          </a:custGeom>
          <a:solidFill>
            <a:schemeClr val="bg1">
              <a:lumMod val="95000"/>
            </a:schemeClr>
          </a:solidFill>
        </p:spPr>
        <p:txBody>
          <a:bodyPr wrap="square">
            <a:noAutofit/>
          </a:bodyPr>
          <a:lstStyle>
            <a:lvl1pPr>
              <a:defRPr sz="900"/>
            </a:lvl1pPr>
          </a:lstStyle>
          <a:p>
            <a:endParaRPr lang="en-US"/>
          </a:p>
        </p:txBody>
      </p:sp>
    </p:spTree>
    <p:extLst>
      <p:ext uri="{BB962C8B-B14F-4D97-AF65-F5344CB8AC3E}">
        <p14:creationId xmlns:p14="http://schemas.microsoft.com/office/powerpoint/2010/main" val="6920940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
        <p:nvSpPr>
          <p:cNvPr id="7" name="Picture Placeholder 6"/>
          <p:cNvSpPr>
            <a:spLocks noGrp="1"/>
          </p:cNvSpPr>
          <p:nvPr>
            <p:ph type="pic" sz="quarter" idx="13"/>
          </p:nvPr>
        </p:nvSpPr>
        <p:spPr>
          <a:xfrm>
            <a:off x="929340" y="737760"/>
            <a:ext cx="3327728" cy="3703613"/>
          </a:xfrm>
          <a:custGeom>
            <a:avLst/>
            <a:gdLst>
              <a:gd name="connsiteX0" fmla="*/ 0 w 4436970"/>
              <a:gd name="connsiteY0" fmla="*/ 0 h 4938151"/>
              <a:gd name="connsiteX1" fmla="*/ 4436970 w 4436970"/>
              <a:gd name="connsiteY1" fmla="*/ 0 h 4938151"/>
              <a:gd name="connsiteX2" fmla="*/ 4436970 w 4436970"/>
              <a:gd name="connsiteY2" fmla="*/ 4938151 h 4938151"/>
              <a:gd name="connsiteX3" fmla="*/ 0 w 4436970"/>
              <a:gd name="connsiteY3" fmla="*/ 4938151 h 4938151"/>
            </a:gdLst>
            <a:ahLst/>
            <a:cxnLst>
              <a:cxn ang="0">
                <a:pos x="connsiteX0" y="connsiteY0"/>
              </a:cxn>
              <a:cxn ang="0">
                <a:pos x="connsiteX1" y="connsiteY1"/>
              </a:cxn>
              <a:cxn ang="0">
                <a:pos x="connsiteX2" y="connsiteY2"/>
              </a:cxn>
              <a:cxn ang="0">
                <a:pos x="connsiteX3" y="connsiteY3"/>
              </a:cxn>
            </a:cxnLst>
            <a:rect l="l" t="t" r="r" b="b"/>
            <a:pathLst>
              <a:path w="4436970" h="4938151">
                <a:moveTo>
                  <a:pt x="0" y="0"/>
                </a:moveTo>
                <a:lnTo>
                  <a:pt x="4436970" y="0"/>
                </a:lnTo>
                <a:lnTo>
                  <a:pt x="4436970" y="4938151"/>
                </a:lnTo>
                <a:lnTo>
                  <a:pt x="0" y="4938151"/>
                </a:lnTo>
                <a:close/>
              </a:path>
            </a:pathLst>
          </a:custGeom>
          <a:solidFill>
            <a:schemeClr val="bg1">
              <a:lumMod val="95000"/>
            </a:schemeClr>
          </a:solidFill>
        </p:spPr>
        <p:txBody>
          <a:bodyPr wrap="square">
            <a:noAutofit/>
          </a:bodyPr>
          <a:lstStyle>
            <a:lvl1pPr>
              <a:defRPr sz="1100"/>
            </a:lvl1pPr>
          </a:lstStyle>
          <a:p>
            <a:endParaRPr lang="en-US"/>
          </a:p>
        </p:txBody>
      </p:sp>
    </p:spTree>
    <p:extLst>
      <p:ext uri="{BB962C8B-B14F-4D97-AF65-F5344CB8AC3E}">
        <p14:creationId xmlns:p14="http://schemas.microsoft.com/office/powerpoint/2010/main" val="36049608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4561544" y="2571750"/>
            <a:ext cx="1911516" cy="1911516"/>
          </a:xfrm>
          <a:custGeom>
            <a:avLst/>
            <a:gdLst>
              <a:gd name="connsiteX0" fmla="*/ 1274344 w 2548688"/>
              <a:gd name="connsiteY0" fmla="*/ 0 h 2548688"/>
              <a:gd name="connsiteX1" fmla="*/ 2548688 w 2548688"/>
              <a:gd name="connsiteY1" fmla="*/ 1274344 h 2548688"/>
              <a:gd name="connsiteX2" fmla="*/ 1274344 w 2548688"/>
              <a:gd name="connsiteY2" fmla="*/ 2548688 h 2548688"/>
              <a:gd name="connsiteX3" fmla="*/ 0 w 2548688"/>
              <a:gd name="connsiteY3" fmla="*/ 1274344 h 2548688"/>
            </a:gdLst>
            <a:ahLst/>
            <a:cxnLst>
              <a:cxn ang="0">
                <a:pos x="connsiteX0" y="connsiteY0"/>
              </a:cxn>
              <a:cxn ang="0">
                <a:pos x="connsiteX1" y="connsiteY1"/>
              </a:cxn>
              <a:cxn ang="0">
                <a:pos x="connsiteX2" y="connsiteY2"/>
              </a:cxn>
              <a:cxn ang="0">
                <a:pos x="connsiteX3" y="connsiteY3"/>
              </a:cxn>
            </a:cxnLst>
            <a:rect l="l" t="t" r="r" b="b"/>
            <a:pathLst>
              <a:path w="2548688" h="2548688">
                <a:moveTo>
                  <a:pt x="1274344" y="0"/>
                </a:moveTo>
                <a:lnTo>
                  <a:pt x="2548688" y="1274344"/>
                </a:lnTo>
                <a:lnTo>
                  <a:pt x="1274344" y="2548688"/>
                </a:lnTo>
                <a:lnTo>
                  <a:pt x="0" y="1274344"/>
                </a:lnTo>
                <a:close/>
              </a:path>
            </a:pathLst>
          </a:custGeom>
          <a:solidFill>
            <a:schemeClr val="bg1">
              <a:lumMod val="95000"/>
            </a:schemeClr>
          </a:solidFill>
        </p:spPr>
        <p:txBody>
          <a:bodyPr wrap="square">
            <a:noAutofit/>
          </a:bodyPr>
          <a:lstStyle>
            <a:lvl1pPr>
              <a:defRPr sz="900"/>
            </a:lvl1pPr>
          </a:lstStyle>
          <a:p>
            <a:endParaRPr lang="en-US"/>
          </a:p>
        </p:txBody>
      </p:sp>
      <p:sp>
        <p:nvSpPr>
          <p:cNvPr id="18" name="Picture Placeholder 17"/>
          <p:cNvSpPr>
            <a:spLocks noGrp="1"/>
          </p:cNvSpPr>
          <p:nvPr>
            <p:ph type="pic" sz="quarter" idx="15"/>
          </p:nvPr>
        </p:nvSpPr>
        <p:spPr>
          <a:xfrm>
            <a:off x="4561544" y="660234"/>
            <a:ext cx="1911516" cy="1911516"/>
          </a:xfrm>
          <a:custGeom>
            <a:avLst/>
            <a:gdLst>
              <a:gd name="connsiteX0" fmla="*/ 1274344 w 2548688"/>
              <a:gd name="connsiteY0" fmla="*/ 0 h 2548688"/>
              <a:gd name="connsiteX1" fmla="*/ 2548688 w 2548688"/>
              <a:gd name="connsiteY1" fmla="*/ 1274344 h 2548688"/>
              <a:gd name="connsiteX2" fmla="*/ 1274344 w 2548688"/>
              <a:gd name="connsiteY2" fmla="*/ 2548688 h 2548688"/>
              <a:gd name="connsiteX3" fmla="*/ 0 w 2548688"/>
              <a:gd name="connsiteY3" fmla="*/ 1274344 h 2548688"/>
            </a:gdLst>
            <a:ahLst/>
            <a:cxnLst>
              <a:cxn ang="0">
                <a:pos x="connsiteX0" y="connsiteY0"/>
              </a:cxn>
              <a:cxn ang="0">
                <a:pos x="connsiteX1" y="connsiteY1"/>
              </a:cxn>
              <a:cxn ang="0">
                <a:pos x="connsiteX2" y="connsiteY2"/>
              </a:cxn>
              <a:cxn ang="0">
                <a:pos x="connsiteX3" y="connsiteY3"/>
              </a:cxn>
            </a:cxnLst>
            <a:rect l="l" t="t" r="r" b="b"/>
            <a:pathLst>
              <a:path w="2548688" h="2548688">
                <a:moveTo>
                  <a:pt x="1274344" y="0"/>
                </a:moveTo>
                <a:lnTo>
                  <a:pt x="2548688" y="1274344"/>
                </a:lnTo>
                <a:lnTo>
                  <a:pt x="1274344" y="2548688"/>
                </a:lnTo>
                <a:lnTo>
                  <a:pt x="0" y="1274344"/>
                </a:lnTo>
                <a:close/>
              </a:path>
            </a:pathLst>
          </a:custGeom>
          <a:solidFill>
            <a:schemeClr val="bg1">
              <a:lumMod val="95000"/>
            </a:schemeClr>
          </a:solidFill>
        </p:spPr>
        <p:txBody>
          <a:bodyPr wrap="square">
            <a:noAutofit/>
          </a:bodyPr>
          <a:lstStyle>
            <a:lvl1pPr>
              <a:defRPr sz="900"/>
            </a:lvl1pPr>
          </a:lstStyle>
          <a:p>
            <a:endParaRPr lang="en-US"/>
          </a:p>
        </p:txBody>
      </p:sp>
      <p:sp>
        <p:nvSpPr>
          <p:cNvPr id="21" name="Picture Placeholder 20"/>
          <p:cNvSpPr>
            <a:spLocks noGrp="1"/>
          </p:cNvSpPr>
          <p:nvPr>
            <p:ph type="pic" sz="quarter" idx="16"/>
          </p:nvPr>
        </p:nvSpPr>
        <p:spPr>
          <a:xfrm>
            <a:off x="2650028" y="2571750"/>
            <a:ext cx="1911516" cy="1911516"/>
          </a:xfrm>
          <a:custGeom>
            <a:avLst/>
            <a:gdLst>
              <a:gd name="connsiteX0" fmla="*/ 1274344 w 2548688"/>
              <a:gd name="connsiteY0" fmla="*/ 0 h 2548688"/>
              <a:gd name="connsiteX1" fmla="*/ 2548688 w 2548688"/>
              <a:gd name="connsiteY1" fmla="*/ 1274344 h 2548688"/>
              <a:gd name="connsiteX2" fmla="*/ 1274344 w 2548688"/>
              <a:gd name="connsiteY2" fmla="*/ 2548688 h 2548688"/>
              <a:gd name="connsiteX3" fmla="*/ 0 w 2548688"/>
              <a:gd name="connsiteY3" fmla="*/ 1274344 h 2548688"/>
            </a:gdLst>
            <a:ahLst/>
            <a:cxnLst>
              <a:cxn ang="0">
                <a:pos x="connsiteX0" y="connsiteY0"/>
              </a:cxn>
              <a:cxn ang="0">
                <a:pos x="connsiteX1" y="connsiteY1"/>
              </a:cxn>
              <a:cxn ang="0">
                <a:pos x="connsiteX2" y="connsiteY2"/>
              </a:cxn>
              <a:cxn ang="0">
                <a:pos x="connsiteX3" y="connsiteY3"/>
              </a:cxn>
            </a:cxnLst>
            <a:rect l="l" t="t" r="r" b="b"/>
            <a:pathLst>
              <a:path w="2548688" h="2548688">
                <a:moveTo>
                  <a:pt x="1274344" y="0"/>
                </a:moveTo>
                <a:lnTo>
                  <a:pt x="2548688" y="1274344"/>
                </a:lnTo>
                <a:lnTo>
                  <a:pt x="1274344" y="2548688"/>
                </a:lnTo>
                <a:lnTo>
                  <a:pt x="0" y="1274344"/>
                </a:lnTo>
                <a:close/>
              </a:path>
            </a:pathLst>
          </a:custGeom>
          <a:solidFill>
            <a:schemeClr val="bg1">
              <a:lumMod val="95000"/>
            </a:schemeClr>
          </a:solidFill>
        </p:spPr>
        <p:txBody>
          <a:bodyPr wrap="square">
            <a:noAutofit/>
          </a:bodyPr>
          <a:lstStyle>
            <a:lvl1pPr>
              <a:defRPr sz="900"/>
            </a:lvl1pPr>
          </a:lstStyle>
          <a:p>
            <a:endParaRPr lang="en-US"/>
          </a:p>
        </p:txBody>
      </p:sp>
      <p:sp>
        <p:nvSpPr>
          <p:cNvPr id="2" name="Date Placeholder 1"/>
          <p:cNvSpPr>
            <a:spLocks noGrp="1"/>
          </p:cNvSpPr>
          <p:nvPr>
            <p:ph type="dt" sz="half" idx="10"/>
          </p:nvPr>
        </p:nvSpPr>
        <p:spPr/>
        <p:txBody>
          <a:bodyPr/>
          <a:lstStyle/>
          <a:p>
            <a:fld id="{6CAB9558-E2C3-4B15-A536-508FD758087F}"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EAC0EE8F-7F13-4FD3-BBD9-EDAE10484B5B}" type="slidenum">
              <a:rPr lang="en-US" smtClean="0"/>
              <a:t>‹#›</a:t>
            </a:fld>
            <a:endParaRPr lang="en-US"/>
          </a:p>
        </p:txBody>
      </p:sp>
      <p:sp>
        <p:nvSpPr>
          <p:cNvPr id="20" name="Picture Placeholder 19"/>
          <p:cNvSpPr>
            <a:spLocks noGrp="1"/>
          </p:cNvSpPr>
          <p:nvPr>
            <p:ph type="pic" sz="quarter" idx="13"/>
          </p:nvPr>
        </p:nvSpPr>
        <p:spPr>
          <a:xfrm>
            <a:off x="2650028" y="660234"/>
            <a:ext cx="1911516" cy="1911516"/>
          </a:xfrm>
          <a:custGeom>
            <a:avLst/>
            <a:gdLst>
              <a:gd name="connsiteX0" fmla="*/ 1274344 w 2548688"/>
              <a:gd name="connsiteY0" fmla="*/ 0 h 2548688"/>
              <a:gd name="connsiteX1" fmla="*/ 2548688 w 2548688"/>
              <a:gd name="connsiteY1" fmla="*/ 1274344 h 2548688"/>
              <a:gd name="connsiteX2" fmla="*/ 1274344 w 2548688"/>
              <a:gd name="connsiteY2" fmla="*/ 2548688 h 2548688"/>
              <a:gd name="connsiteX3" fmla="*/ 0 w 2548688"/>
              <a:gd name="connsiteY3" fmla="*/ 1274344 h 2548688"/>
            </a:gdLst>
            <a:ahLst/>
            <a:cxnLst>
              <a:cxn ang="0">
                <a:pos x="connsiteX0" y="connsiteY0"/>
              </a:cxn>
              <a:cxn ang="0">
                <a:pos x="connsiteX1" y="connsiteY1"/>
              </a:cxn>
              <a:cxn ang="0">
                <a:pos x="connsiteX2" y="connsiteY2"/>
              </a:cxn>
              <a:cxn ang="0">
                <a:pos x="connsiteX3" y="connsiteY3"/>
              </a:cxn>
            </a:cxnLst>
            <a:rect l="l" t="t" r="r" b="b"/>
            <a:pathLst>
              <a:path w="2548688" h="2548688">
                <a:moveTo>
                  <a:pt x="1274344" y="0"/>
                </a:moveTo>
                <a:lnTo>
                  <a:pt x="2548688" y="1274344"/>
                </a:lnTo>
                <a:lnTo>
                  <a:pt x="1274344" y="2548688"/>
                </a:lnTo>
                <a:lnTo>
                  <a:pt x="0" y="1274344"/>
                </a:lnTo>
                <a:close/>
              </a:path>
            </a:pathLst>
          </a:custGeom>
          <a:solidFill>
            <a:schemeClr val="bg1">
              <a:lumMod val="95000"/>
            </a:schemeClr>
          </a:solidFill>
        </p:spPr>
        <p:txBody>
          <a:bodyPr wrap="square">
            <a:noAutofit/>
          </a:bodyPr>
          <a:lstStyle>
            <a:lvl1pPr>
              <a:defRPr sz="900"/>
            </a:lvl1pPr>
          </a:lstStyle>
          <a:p>
            <a:endParaRPr lang="en-US"/>
          </a:p>
        </p:txBody>
      </p:sp>
    </p:spTree>
    <p:extLst>
      <p:ext uri="{BB962C8B-B14F-4D97-AF65-F5344CB8AC3E}">
        <p14:creationId xmlns:p14="http://schemas.microsoft.com/office/powerpoint/2010/main" val="42167452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836676" y="1447773"/>
            <a:ext cx="3577083" cy="2288994"/>
          </a:xfrm>
          <a:custGeom>
            <a:avLst/>
            <a:gdLst>
              <a:gd name="connsiteX0" fmla="*/ 0 w 4769444"/>
              <a:gd name="connsiteY0" fmla="*/ 0 h 3051992"/>
              <a:gd name="connsiteX1" fmla="*/ 4769444 w 4769444"/>
              <a:gd name="connsiteY1" fmla="*/ 0 h 3051992"/>
              <a:gd name="connsiteX2" fmla="*/ 4769444 w 4769444"/>
              <a:gd name="connsiteY2" fmla="*/ 3051992 h 3051992"/>
              <a:gd name="connsiteX3" fmla="*/ 0 w 4769444"/>
              <a:gd name="connsiteY3" fmla="*/ 3051992 h 3051992"/>
            </a:gdLst>
            <a:ahLst/>
            <a:cxnLst>
              <a:cxn ang="0">
                <a:pos x="connsiteX0" y="connsiteY0"/>
              </a:cxn>
              <a:cxn ang="0">
                <a:pos x="connsiteX1" y="connsiteY1"/>
              </a:cxn>
              <a:cxn ang="0">
                <a:pos x="connsiteX2" y="connsiteY2"/>
              </a:cxn>
              <a:cxn ang="0">
                <a:pos x="connsiteX3" y="connsiteY3"/>
              </a:cxn>
            </a:cxnLst>
            <a:rect l="l" t="t" r="r" b="b"/>
            <a:pathLst>
              <a:path w="4769444" h="3051992">
                <a:moveTo>
                  <a:pt x="0" y="0"/>
                </a:moveTo>
                <a:lnTo>
                  <a:pt x="4769444" y="0"/>
                </a:lnTo>
                <a:lnTo>
                  <a:pt x="4769444" y="3051992"/>
                </a:lnTo>
                <a:lnTo>
                  <a:pt x="0" y="3051992"/>
                </a:lnTo>
                <a:close/>
              </a:path>
            </a:pathLst>
          </a:custGeom>
          <a:solidFill>
            <a:schemeClr val="bg1">
              <a:lumMod val="95000"/>
            </a:schemeClr>
          </a:solidFill>
        </p:spPr>
        <p:txBody>
          <a:bodyPr wrap="square">
            <a:noAutofit/>
          </a:bodyPr>
          <a:lstStyle>
            <a:lvl1pPr>
              <a:defRPr sz="1400"/>
            </a:lvl1pPr>
          </a:lstStyle>
          <a:p>
            <a:endParaRPr lang="en-US"/>
          </a:p>
        </p:txBody>
      </p:sp>
      <p:sp>
        <p:nvSpPr>
          <p:cNvPr id="13" name="Picture Placeholder 12"/>
          <p:cNvSpPr>
            <a:spLocks noGrp="1"/>
          </p:cNvSpPr>
          <p:nvPr>
            <p:ph type="pic" sz="quarter" idx="13"/>
          </p:nvPr>
        </p:nvSpPr>
        <p:spPr>
          <a:xfrm>
            <a:off x="758549" y="1447773"/>
            <a:ext cx="3577083" cy="2288994"/>
          </a:xfrm>
          <a:custGeom>
            <a:avLst/>
            <a:gdLst>
              <a:gd name="connsiteX0" fmla="*/ 0 w 4769444"/>
              <a:gd name="connsiteY0" fmla="*/ 0 h 3051992"/>
              <a:gd name="connsiteX1" fmla="*/ 4769444 w 4769444"/>
              <a:gd name="connsiteY1" fmla="*/ 0 h 3051992"/>
              <a:gd name="connsiteX2" fmla="*/ 4769444 w 4769444"/>
              <a:gd name="connsiteY2" fmla="*/ 3051992 h 3051992"/>
              <a:gd name="connsiteX3" fmla="*/ 0 w 4769444"/>
              <a:gd name="connsiteY3" fmla="*/ 3051992 h 3051992"/>
            </a:gdLst>
            <a:ahLst/>
            <a:cxnLst>
              <a:cxn ang="0">
                <a:pos x="connsiteX0" y="connsiteY0"/>
              </a:cxn>
              <a:cxn ang="0">
                <a:pos x="connsiteX1" y="connsiteY1"/>
              </a:cxn>
              <a:cxn ang="0">
                <a:pos x="connsiteX2" y="connsiteY2"/>
              </a:cxn>
              <a:cxn ang="0">
                <a:pos x="connsiteX3" y="connsiteY3"/>
              </a:cxn>
            </a:cxnLst>
            <a:rect l="l" t="t" r="r" b="b"/>
            <a:pathLst>
              <a:path w="4769444" h="3051992">
                <a:moveTo>
                  <a:pt x="0" y="0"/>
                </a:moveTo>
                <a:lnTo>
                  <a:pt x="4769444" y="0"/>
                </a:lnTo>
                <a:lnTo>
                  <a:pt x="4769444" y="3051992"/>
                </a:lnTo>
                <a:lnTo>
                  <a:pt x="0" y="3051992"/>
                </a:lnTo>
                <a:close/>
              </a:path>
            </a:pathLst>
          </a:custGeom>
          <a:solidFill>
            <a:schemeClr val="bg1">
              <a:lumMod val="95000"/>
            </a:schemeClr>
          </a:solidFill>
        </p:spPr>
        <p:txBody>
          <a:bodyPr wrap="square">
            <a:noAutofit/>
          </a:bodyPr>
          <a:lstStyle>
            <a:lvl1pPr>
              <a:defRPr sz="1400"/>
            </a:lvl1pPr>
          </a:lstStyle>
          <a:p>
            <a:endParaRPr lang="en-US"/>
          </a:p>
        </p:txBody>
      </p:sp>
      <p:sp>
        <p:nvSpPr>
          <p:cNvPr id="4" name="Date Placeholder 3"/>
          <p:cNvSpPr>
            <a:spLocks noGrp="1"/>
          </p:cNvSpPr>
          <p:nvPr>
            <p:ph type="dt" sz="half" idx="10"/>
          </p:nvPr>
        </p:nvSpPr>
        <p:spPr/>
        <p:txBody>
          <a:bodyPr/>
          <a:lstStyle/>
          <a:p>
            <a:fld id="{9BBB75B1-BA93-47CA-BA7A-1661DCDF8CEE}" type="datetimeFigureOut">
              <a:rPr lang="en-US" smtClean="0"/>
              <a:t>11/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592AEA17-5934-4916-8B33-C24822774422}" type="slidenum">
              <a:rPr lang="en-US" smtClean="0"/>
              <a:t>‹#›</a:t>
            </a:fld>
            <a:endParaRPr lang="en-US"/>
          </a:p>
        </p:txBody>
      </p:sp>
    </p:spTree>
    <p:extLst>
      <p:ext uri="{BB962C8B-B14F-4D97-AF65-F5344CB8AC3E}">
        <p14:creationId xmlns:p14="http://schemas.microsoft.com/office/powerpoint/2010/main" val="39215206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3325996" y="1481202"/>
            <a:ext cx="2492008" cy="2373761"/>
          </a:xfrm>
          <a:custGeom>
            <a:avLst/>
            <a:gdLst>
              <a:gd name="connsiteX0" fmla="*/ 0 w 3322677"/>
              <a:gd name="connsiteY0" fmla="*/ 0 h 3165014"/>
              <a:gd name="connsiteX1" fmla="*/ 3322677 w 3322677"/>
              <a:gd name="connsiteY1" fmla="*/ 0 h 3165014"/>
              <a:gd name="connsiteX2" fmla="*/ 3322677 w 3322677"/>
              <a:gd name="connsiteY2" fmla="*/ 3165014 h 3165014"/>
              <a:gd name="connsiteX3" fmla="*/ 0 w 3322677"/>
              <a:gd name="connsiteY3" fmla="*/ 3165014 h 3165014"/>
            </a:gdLst>
            <a:ahLst/>
            <a:cxnLst>
              <a:cxn ang="0">
                <a:pos x="connsiteX0" y="connsiteY0"/>
              </a:cxn>
              <a:cxn ang="0">
                <a:pos x="connsiteX1" y="connsiteY1"/>
              </a:cxn>
              <a:cxn ang="0">
                <a:pos x="connsiteX2" y="connsiteY2"/>
              </a:cxn>
              <a:cxn ang="0">
                <a:pos x="connsiteX3" y="connsiteY3"/>
              </a:cxn>
            </a:cxnLst>
            <a:rect l="l" t="t" r="r" b="b"/>
            <a:pathLst>
              <a:path w="3322677" h="3165014">
                <a:moveTo>
                  <a:pt x="0" y="0"/>
                </a:moveTo>
                <a:lnTo>
                  <a:pt x="3322677" y="0"/>
                </a:lnTo>
                <a:lnTo>
                  <a:pt x="3322677" y="3165014"/>
                </a:lnTo>
                <a:lnTo>
                  <a:pt x="0" y="3165014"/>
                </a:lnTo>
                <a:close/>
              </a:path>
            </a:pathLst>
          </a:custGeom>
          <a:solidFill>
            <a:schemeClr val="bg1">
              <a:lumMod val="95000"/>
            </a:schemeClr>
          </a:solidFill>
        </p:spPr>
        <p:txBody>
          <a:bodyPr wrap="square">
            <a:noAutofit/>
          </a:bodyPr>
          <a:lstStyle>
            <a:lvl1pPr>
              <a:defRPr sz="900"/>
            </a:lvl1pPr>
          </a:lstStyle>
          <a:p>
            <a:endParaRPr lang="en-US"/>
          </a:p>
        </p:txBody>
      </p:sp>
      <p:sp>
        <p:nvSpPr>
          <p:cNvPr id="19" name="Picture Placeholder 18"/>
          <p:cNvSpPr>
            <a:spLocks noGrp="1"/>
          </p:cNvSpPr>
          <p:nvPr>
            <p:ph type="pic" sz="quarter" idx="15"/>
          </p:nvPr>
        </p:nvSpPr>
        <p:spPr>
          <a:xfrm>
            <a:off x="5993163" y="1481202"/>
            <a:ext cx="2492008" cy="2373761"/>
          </a:xfrm>
          <a:custGeom>
            <a:avLst/>
            <a:gdLst>
              <a:gd name="connsiteX0" fmla="*/ 0 w 3322677"/>
              <a:gd name="connsiteY0" fmla="*/ 0 h 3165014"/>
              <a:gd name="connsiteX1" fmla="*/ 3322677 w 3322677"/>
              <a:gd name="connsiteY1" fmla="*/ 0 h 3165014"/>
              <a:gd name="connsiteX2" fmla="*/ 3322677 w 3322677"/>
              <a:gd name="connsiteY2" fmla="*/ 3165014 h 3165014"/>
              <a:gd name="connsiteX3" fmla="*/ 0 w 3322677"/>
              <a:gd name="connsiteY3" fmla="*/ 3165014 h 3165014"/>
            </a:gdLst>
            <a:ahLst/>
            <a:cxnLst>
              <a:cxn ang="0">
                <a:pos x="connsiteX0" y="connsiteY0"/>
              </a:cxn>
              <a:cxn ang="0">
                <a:pos x="connsiteX1" y="connsiteY1"/>
              </a:cxn>
              <a:cxn ang="0">
                <a:pos x="connsiteX2" y="connsiteY2"/>
              </a:cxn>
              <a:cxn ang="0">
                <a:pos x="connsiteX3" y="connsiteY3"/>
              </a:cxn>
            </a:cxnLst>
            <a:rect l="l" t="t" r="r" b="b"/>
            <a:pathLst>
              <a:path w="3322677" h="3165014">
                <a:moveTo>
                  <a:pt x="0" y="0"/>
                </a:moveTo>
                <a:lnTo>
                  <a:pt x="3322677" y="0"/>
                </a:lnTo>
                <a:lnTo>
                  <a:pt x="3322677" y="3165014"/>
                </a:lnTo>
                <a:lnTo>
                  <a:pt x="0" y="3165014"/>
                </a:lnTo>
                <a:close/>
              </a:path>
            </a:pathLst>
          </a:custGeom>
          <a:solidFill>
            <a:schemeClr val="bg1">
              <a:lumMod val="95000"/>
            </a:schemeClr>
          </a:solidFill>
        </p:spPr>
        <p:txBody>
          <a:bodyPr wrap="square">
            <a:noAutofit/>
          </a:bodyPr>
          <a:lstStyle>
            <a:lvl1pPr>
              <a:defRPr sz="900"/>
            </a:lvl1pPr>
          </a:lstStyle>
          <a:p>
            <a:endParaRPr lang="en-US"/>
          </a:p>
        </p:txBody>
      </p:sp>
      <p:sp>
        <p:nvSpPr>
          <p:cNvPr id="12" name="Picture Placeholder 11"/>
          <p:cNvSpPr>
            <a:spLocks noGrp="1"/>
          </p:cNvSpPr>
          <p:nvPr>
            <p:ph type="pic" sz="quarter" idx="13"/>
          </p:nvPr>
        </p:nvSpPr>
        <p:spPr>
          <a:xfrm>
            <a:off x="658832" y="1481202"/>
            <a:ext cx="2492008" cy="2373761"/>
          </a:xfrm>
          <a:custGeom>
            <a:avLst/>
            <a:gdLst>
              <a:gd name="connsiteX0" fmla="*/ 0 w 3322677"/>
              <a:gd name="connsiteY0" fmla="*/ 0 h 3165014"/>
              <a:gd name="connsiteX1" fmla="*/ 3322677 w 3322677"/>
              <a:gd name="connsiteY1" fmla="*/ 0 h 3165014"/>
              <a:gd name="connsiteX2" fmla="*/ 3322677 w 3322677"/>
              <a:gd name="connsiteY2" fmla="*/ 3165014 h 3165014"/>
              <a:gd name="connsiteX3" fmla="*/ 0 w 3322677"/>
              <a:gd name="connsiteY3" fmla="*/ 3165014 h 3165014"/>
            </a:gdLst>
            <a:ahLst/>
            <a:cxnLst>
              <a:cxn ang="0">
                <a:pos x="connsiteX0" y="connsiteY0"/>
              </a:cxn>
              <a:cxn ang="0">
                <a:pos x="connsiteX1" y="connsiteY1"/>
              </a:cxn>
              <a:cxn ang="0">
                <a:pos x="connsiteX2" y="connsiteY2"/>
              </a:cxn>
              <a:cxn ang="0">
                <a:pos x="connsiteX3" y="connsiteY3"/>
              </a:cxn>
            </a:cxnLst>
            <a:rect l="l" t="t" r="r" b="b"/>
            <a:pathLst>
              <a:path w="3322677" h="3165014">
                <a:moveTo>
                  <a:pt x="0" y="0"/>
                </a:moveTo>
                <a:lnTo>
                  <a:pt x="3322677" y="0"/>
                </a:lnTo>
                <a:lnTo>
                  <a:pt x="3322677" y="3165014"/>
                </a:lnTo>
                <a:lnTo>
                  <a:pt x="0" y="3165014"/>
                </a:lnTo>
                <a:close/>
              </a:path>
            </a:pathLst>
          </a:custGeom>
          <a:solidFill>
            <a:schemeClr val="bg1">
              <a:lumMod val="95000"/>
            </a:schemeClr>
          </a:solidFill>
        </p:spPr>
        <p:txBody>
          <a:bodyPr wrap="square">
            <a:noAutofit/>
          </a:bodyPr>
          <a:lstStyle>
            <a:lvl1pPr>
              <a:defRPr sz="900"/>
            </a:lvl1pPr>
          </a:lstStyle>
          <a:p>
            <a:endParaRPr lang="en-US"/>
          </a:p>
        </p:txBody>
      </p:sp>
      <p:sp>
        <p:nvSpPr>
          <p:cNvPr id="4" name="Date Placeholder 3"/>
          <p:cNvSpPr>
            <a:spLocks noGrp="1"/>
          </p:cNvSpPr>
          <p:nvPr>
            <p:ph type="dt" sz="half" idx="10"/>
          </p:nvPr>
        </p:nvSpPr>
        <p:spPr/>
        <p:txBody>
          <a:bodyPr/>
          <a:lstStyle/>
          <a:p>
            <a:fld id="{9BBB75B1-BA93-47CA-BA7A-1661DCDF8CEE}" type="datetimeFigureOut">
              <a:rPr lang="en-US" smtClean="0"/>
              <a:t>11/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592AEA17-5934-4916-8B33-C24822774422}" type="slidenum">
              <a:rPr lang="en-US" smtClean="0"/>
              <a:t>‹#›</a:t>
            </a:fld>
            <a:endParaRPr lang="en-US"/>
          </a:p>
        </p:txBody>
      </p:sp>
    </p:spTree>
    <p:extLst>
      <p:ext uri="{BB962C8B-B14F-4D97-AF65-F5344CB8AC3E}">
        <p14:creationId xmlns:p14="http://schemas.microsoft.com/office/powerpoint/2010/main" val="125888203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7_1">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769065" y="1358689"/>
            <a:ext cx="3011884" cy="1709448"/>
          </a:xfrm>
          <a:custGeom>
            <a:avLst/>
            <a:gdLst>
              <a:gd name="connsiteX0" fmla="*/ 0 w 4015845"/>
              <a:gd name="connsiteY0" fmla="*/ 0 h 2279264"/>
              <a:gd name="connsiteX1" fmla="*/ 4015845 w 4015845"/>
              <a:gd name="connsiteY1" fmla="*/ 0 h 2279264"/>
              <a:gd name="connsiteX2" fmla="*/ 4015845 w 4015845"/>
              <a:gd name="connsiteY2" fmla="*/ 2279264 h 2279264"/>
              <a:gd name="connsiteX3" fmla="*/ 0 w 4015845"/>
              <a:gd name="connsiteY3" fmla="*/ 2279264 h 2279264"/>
            </a:gdLst>
            <a:ahLst/>
            <a:cxnLst>
              <a:cxn ang="0">
                <a:pos x="connsiteX0" y="connsiteY0"/>
              </a:cxn>
              <a:cxn ang="0">
                <a:pos x="connsiteX1" y="connsiteY1"/>
              </a:cxn>
              <a:cxn ang="0">
                <a:pos x="connsiteX2" y="connsiteY2"/>
              </a:cxn>
              <a:cxn ang="0">
                <a:pos x="connsiteX3" y="connsiteY3"/>
              </a:cxn>
            </a:cxnLst>
            <a:rect l="l" t="t" r="r" b="b"/>
            <a:pathLst>
              <a:path w="4015845" h="2279264">
                <a:moveTo>
                  <a:pt x="0" y="0"/>
                </a:moveTo>
                <a:lnTo>
                  <a:pt x="4015845" y="0"/>
                </a:lnTo>
                <a:lnTo>
                  <a:pt x="4015845" y="2279264"/>
                </a:lnTo>
                <a:lnTo>
                  <a:pt x="0" y="2279264"/>
                </a:lnTo>
                <a:close/>
              </a:path>
            </a:pathLst>
          </a:custGeom>
          <a:solidFill>
            <a:schemeClr val="bg1">
              <a:lumMod val="95000"/>
            </a:schemeClr>
          </a:solidFill>
          <a:ln w="38100">
            <a:noFill/>
          </a:ln>
        </p:spPr>
        <p:txBody>
          <a:bodyPr vert="horz" wrap="square">
            <a:noAutofit/>
          </a:bodyPr>
          <a:lstStyle>
            <a:lvl1pPr marL="128588" marR="0" indent="-128588" algn="ctr" defTabSz="342900" rtl="0" eaLnBrk="0" fontAlgn="base" latinLnBrk="0" hangingPunct="0">
              <a:lnSpc>
                <a:spcPct val="100000"/>
              </a:lnSpc>
              <a:spcBef>
                <a:spcPct val="0"/>
              </a:spcBef>
              <a:spcAft>
                <a:spcPct val="0"/>
              </a:spcAft>
              <a:buClrTx/>
              <a:buSzTx/>
              <a:buFontTx/>
              <a:buNone/>
              <a:tabLst/>
              <a:defRPr sz="900" baseline="0">
                <a:solidFill>
                  <a:schemeClr val="bg1"/>
                </a:solidFill>
                <a:latin typeface="Source Sans Pro"/>
                <a:cs typeface="Source Sans Pro"/>
              </a:defRPr>
            </a:lvl1pPr>
          </a:lstStyle>
          <a:p>
            <a:r>
              <a:rPr lang="en-US" dirty="0"/>
              <a:t>Drop Image Here</a:t>
            </a:r>
          </a:p>
        </p:txBody>
      </p:sp>
      <p:sp>
        <p:nvSpPr>
          <p:cNvPr id="9" name="Picture Placeholder 8"/>
          <p:cNvSpPr>
            <a:spLocks noGrp="1"/>
          </p:cNvSpPr>
          <p:nvPr>
            <p:ph type="pic" sz="quarter" idx="11" hasCustomPrompt="1"/>
          </p:nvPr>
        </p:nvSpPr>
        <p:spPr>
          <a:xfrm>
            <a:off x="3430145" y="2498323"/>
            <a:ext cx="957973" cy="1282085"/>
          </a:xfrm>
          <a:custGeom>
            <a:avLst/>
            <a:gdLst>
              <a:gd name="connsiteX0" fmla="*/ 0 w 1277297"/>
              <a:gd name="connsiteY0" fmla="*/ 0 h 1709447"/>
              <a:gd name="connsiteX1" fmla="*/ 1277297 w 1277297"/>
              <a:gd name="connsiteY1" fmla="*/ 0 h 1709447"/>
              <a:gd name="connsiteX2" fmla="*/ 1277297 w 1277297"/>
              <a:gd name="connsiteY2" fmla="*/ 1709447 h 1709447"/>
              <a:gd name="connsiteX3" fmla="*/ 0 w 1277297"/>
              <a:gd name="connsiteY3" fmla="*/ 1709447 h 1709447"/>
            </a:gdLst>
            <a:ahLst/>
            <a:cxnLst>
              <a:cxn ang="0">
                <a:pos x="connsiteX0" y="connsiteY0"/>
              </a:cxn>
              <a:cxn ang="0">
                <a:pos x="connsiteX1" y="connsiteY1"/>
              </a:cxn>
              <a:cxn ang="0">
                <a:pos x="connsiteX2" y="connsiteY2"/>
              </a:cxn>
              <a:cxn ang="0">
                <a:pos x="connsiteX3" y="connsiteY3"/>
              </a:cxn>
            </a:cxnLst>
            <a:rect l="l" t="t" r="r" b="b"/>
            <a:pathLst>
              <a:path w="1277297" h="1709447">
                <a:moveTo>
                  <a:pt x="0" y="0"/>
                </a:moveTo>
                <a:lnTo>
                  <a:pt x="1277297" y="0"/>
                </a:lnTo>
                <a:lnTo>
                  <a:pt x="1277297" y="1709447"/>
                </a:lnTo>
                <a:lnTo>
                  <a:pt x="0" y="1709447"/>
                </a:lnTo>
                <a:close/>
              </a:path>
            </a:pathLst>
          </a:custGeom>
          <a:solidFill>
            <a:schemeClr val="bg1">
              <a:lumMod val="95000"/>
            </a:schemeClr>
          </a:solidFill>
          <a:ln w="38100">
            <a:noFill/>
          </a:ln>
        </p:spPr>
        <p:txBody>
          <a:bodyPr vert="horz" wrap="square">
            <a:noAutofit/>
          </a:bodyPr>
          <a:lstStyle>
            <a:lvl1pPr marL="128588" marR="0" indent="-128588" algn="ctr" defTabSz="342900" rtl="0" eaLnBrk="0" fontAlgn="base" latinLnBrk="0" hangingPunct="0">
              <a:lnSpc>
                <a:spcPct val="100000"/>
              </a:lnSpc>
              <a:spcBef>
                <a:spcPct val="0"/>
              </a:spcBef>
              <a:spcAft>
                <a:spcPct val="0"/>
              </a:spcAft>
              <a:buClrTx/>
              <a:buSzTx/>
              <a:buFontTx/>
              <a:buNone/>
              <a:tabLst/>
              <a:defRPr sz="900" baseline="0">
                <a:solidFill>
                  <a:schemeClr val="bg1"/>
                </a:solidFill>
                <a:latin typeface="Source Sans Pro"/>
                <a:cs typeface="Source Sans Pro"/>
              </a:defRPr>
            </a:lvl1pPr>
          </a:lstStyle>
          <a:p>
            <a:r>
              <a:rPr lang="en-US" dirty="0"/>
              <a:t>Drop Image Here</a:t>
            </a:r>
          </a:p>
        </p:txBody>
      </p:sp>
    </p:spTree>
    <p:extLst>
      <p:ext uri="{BB962C8B-B14F-4D97-AF65-F5344CB8AC3E}">
        <p14:creationId xmlns:p14="http://schemas.microsoft.com/office/powerpoint/2010/main" val="21586391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0_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1576960" y="1698804"/>
            <a:ext cx="1394255" cy="1747370"/>
          </a:xfrm>
          <a:custGeom>
            <a:avLst/>
            <a:gdLst>
              <a:gd name="connsiteX0" fmla="*/ 0 w 1859007"/>
              <a:gd name="connsiteY0" fmla="*/ 0 h 2329827"/>
              <a:gd name="connsiteX1" fmla="*/ 1859007 w 1859007"/>
              <a:gd name="connsiteY1" fmla="*/ 0 h 2329827"/>
              <a:gd name="connsiteX2" fmla="*/ 1859007 w 1859007"/>
              <a:gd name="connsiteY2" fmla="*/ 2329827 h 2329827"/>
              <a:gd name="connsiteX3" fmla="*/ 0 w 1859007"/>
              <a:gd name="connsiteY3" fmla="*/ 2329827 h 2329827"/>
            </a:gdLst>
            <a:ahLst/>
            <a:cxnLst>
              <a:cxn ang="0">
                <a:pos x="connsiteX0" y="connsiteY0"/>
              </a:cxn>
              <a:cxn ang="0">
                <a:pos x="connsiteX1" y="connsiteY1"/>
              </a:cxn>
              <a:cxn ang="0">
                <a:pos x="connsiteX2" y="connsiteY2"/>
              </a:cxn>
              <a:cxn ang="0">
                <a:pos x="connsiteX3" y="connsiteY3"/>
              </a:cxn>
            </a:cxnLst>
            <a:rect l="l" t="t" r="r" b="b"/>
            <a:pathLst>
              <a:path w="1859007" h="2329827">
                <a:moveTo>
                  <a:pt x="0" y="0"/>
                </a:moveTo>
                <a:lnTo>
                  <a:pt x="1859007" y="0"/>
                </a:lnTo>
                <a:lnTo>
                  <a:pt x="1859007" y="2329827"/>
                </a:lnTo>
                <a:lnTo>
                  <a:pt x="0" y="2329827"/>
                </a:lnTo>
                <a:close/>
              </a:path>
            </a:pathLst>
          </a:custGeom>
          <a:solidFill>
            <a:schemeClr val="bg1">
              <a:lumMod val="95000"/>
            </a:schemeClr>
          </a:solidFill>
          <a:ln w="38100">
            <a:noFill/>
          </a:ln>
        </p:spPr>
        <p:txBody>
          <a:bodyPr vert="horz" wrap="square">
            <a:noAutofit/>
          </a:bodyPr>
          <a:lstStyle>
            <a:lvl1pPr marL="128588" marR="0" indent="-128588" algn="ctr" defTabSz="342900" rtl="0" eaLnBrk="0" fontAlgn="base" latinLnBrk="0" hangingPunct="0">
              <a:lnSpc>
                <a:spcPct val="100000"/>
              </a:lnSpc>
              <a:spcBef>
                <a:spcPct val="0"/>
              </a:spcBef>
              <a:spcAft>
                <a:spcPct val="0"/>
              </a:spcAft>
              <a:buClrTx/>
              <a:buSzTx/>
              <a:buFontTx/>
              <a:buNone/>
              <a:tabLst/>
              <a:defRPr sz="900" baseline="0">
                <a:solidFill>
                  <a:schemeClr val="bg1"/>
                </a:solidFill>
                <a:latin typeface="Source Sans Pro"/>
                <a:cs typeface="Source Sans Pro"/>
              </a:defRPr>
            </a:lvl1pPr>
          </a:lstStyle>
          <a:p>
            <a:r>
              <a:rPr lang="en-US" dirty="0"/>
              <a:t>Drop Image Here</a:t>
            </a:r>
          </a:p>
        </p:txBody>
      </p:sp>
    </p:spTree>
    <p:extLst>
      <p:ext uri="{BB962C8B-B14F-4D97-AF65-F5344CB8AC3E}">
        <p14:creationId xmlns:p14="http://schemas.microsoft.com/office/powerpoint/2010/main" val="122228715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1_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201605" y="1550199"/>
            <a:ext cx="2074176" cy="2026138"/>
          </a:xfrm>
          <a:custGeom>
            <a:avLst/>
            <a:gdLst>
              <a:gd name="connsiteX0" fmla="*/ 1382784 w 2765568"/>
              <a:gd name="connsiteY0" fmla="*/ 0 h 2701517"/>
              <a:gd name="connsiteX1" fmla="*/ 2765568 w 2765568"/>
              <a:gd name="connsiteY1" fmla="*/ 1350759 h 2701517"/>
              <a:gd name="connsiteX2" fmla="*/ 1382784 w 2765568"/>
              <a:gd name="connsiteY2" fmla="*/ 2701517 h 2701517"/>
              <a:gd name="connsiteX3" fmla="*/ 0 w 2765568"/>
              <a:gd name="connsiteY3" fmla="*/ 1350759 h 2701517"/>
              <a:gd name="connsiteX4" fmla="*/ 1382784 w 2765568"/>
              <a:gd name="connsiteY4" fmla="*/ 0 h 27015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5568" h="2701517">
                <a:moveTo>
                  <a:pt x="1382784" y="0"/>
                </a:moveTo>
                <a:cubicBezTo>
                  <a:pt x="2146475" y="0"/>
                  <a:pt x="2765568" y="604755"/>
                  <a:pt x="2765568" y="1350759"/>
                </a:cubicBezTo>
                <a:cubicBezTo>
                  <a:pt x="2765568" y="2096762"/>
                  <a:pt x="2146475" y="2701517"/>
                  <a:pt x="1382784" y="2701517"/>
                </a:cubicBezTo>
                <a:cubicBezTo>
                  <a:pt x="619093" y="2701517"/>
                  <a:pt x="0" y="2096762"/>
                  <a:pt x="0" y="1350759"/>
                </a:cubicBezTo>
                <a:cubicBezTo>
                  <a:pt x="0" y="604755"/>
                  <a:pt x="619093" y="0"/>
                  <a:pt x="1382784" y="0"/>
                </a:cubicBezTo>
                <a:close/>
              </a:path>
            </a:pathLst>
          </a:custGeom>
          <a:solidFill>
            <a:schemeClr val="bg1">
              <a:lumMod val="95000"/>
            </a:schemeClr>
          </a:solidFill>
          <a:ln w="38100">
            <a:noFill/>
          </a:ln>
        </p:spPr>
        <p:txBody>
          <a:bodyPr vert="horz" wrap="square">
            <a:noAutofit/>
          </a:bodyPr>
          <a:lstStyle>
            <a:lvl1pPr marL="128588" marR="0" indent="-128588" algn="ctr" defTabSz="342900" rtl="0" eaLnBrk="0" fontAlgn="base" latinLnBrk="0" hangingPunct="0">
              <a:lnSpc>
                <a:spcPct val="100000"/>
              </a:lnSpc>
              <a:spcBef>
                <a:spcPct val="0"/>
              </a:spcBef>
              <a:spcAft>
                <a:spcPct val="0"/>
              </a:spcAft>
              <a:buClrTx/>
              <a:buSzTx/>
              <a:buFontTx/>
              <a:buNone/>
              <a:tabLst/>
              <a:defRPr sz="900" baseline="0">
                <a:solidFill>
                  <a:schemeClr val="bg1"/>
                </a:solidFill>
                <a:latin typeface="Source Sans Pro"/>
                <a:cs typeface="Source Sans Pro"/>
              </a:defRPr>
            </a:lvl1pPr>
          </a:lstStyle>
          <a:p>
            <a:r>
              <a:rPr lang="en-US" dirty="0"/>
              <a:t>Drop Image Here</a:t>
            </a:r>
          </a:p>
        </p:txBody>
      </p:sp>
    </p:spTree>
    <p:extLst>
      <p:ext uri="{BB962C8B-B14F-4D97-AF65-F5344CB8AC3E}">
        <p14:creationId xmlns:p14="http://schemas.microsoft.com/office/powerpoint/2010/main" val="34103809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9_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072383" y="1047567"/>
            <a:ext cx="2399369" cy="3211150"/>
          </a:xfrm>
          <a:custGeom>
            <a:avLst/>
            <a:gdLst>
              <a:gd name="connsiteX0" fmla="*/ 0 w 3199158"/>
              <a:gd name="connsiteY0" fmla="*/ 0 h 4281533"/>
              <a:gd name="connsiteX1" fmla="*/ 3199158 w 3199158"/>
              <a:gd name="connsiteY1" fmla="*/ 0 h 4281533"/>
              <a:gd name="connsiteX2" fmla="*/ 3199158 w 3199158"/>
              <a:gd name="connsiteY2" fmla="*/ 4281533 h 4281533"/>
              <a:gd name="connsiteX3" fmla="*/ 0 w 3199158"/>
              <a:gd name="connsiteY3" fmla="*/ 4281533 h 4281533"/>
            </a:gdLst>
            <a:ahLst/>
            <a:cxnLst>
              <a:cxn ang="0">
                <a:pos x="connsiteX0" y="connsiteY0"/>
              </a:cxn>
              <a:cxn ang="0">
                <a:pos x="connsiteX1" y="connsiteY1"/>
              </a:cxn>
              <a:cxn ang="0">
                <a:pos x="connsiteX2" y="connsiteY2"/>
              </a:cxn>
              <a:cxn ang="0">
                <a:pos x="connsiteX3" y="connsiteY3"/>
              </a:cxn>
            </a:cxnLst>
            <a:rect l="l" t="t" r="r" b="b"/>
            <a:pathLst>
              <a:path w="3199158" h="4281533">
                <a:moveTo>
                  <a:pt x="0" y="0"/>
                </a:moveTo>
                <a:lnTo>
                  <a:pt x="3199158" y="0"/>
                </a:lnTo>
                <a:lnTo>
                  <a:pt x="3199158" y="4281533"/>
                </a:lnTo>
                <a:lnTo>
                  <a:pt x="0" y="4281533"/>
                </a:lnTo>
                <a:close/>
              </a:path>
            </a:pathLst>
          </a:custGeom>
          <a:solidFill>
            <a:schemeClr val="bg1">
              <a:lumMod val="95000"/>
            </a:schemeClr>
          </a:solidFill>
          <a:ln w="38100">
            <a:noFill/>
          </a:ln>
        </p:spPr>
        <p:txBody>
          <a:bodyPr vert="horz" wrap="square">
            <a:noAutofit/>
          </a:bodyPr>
          <a:lstStyle>
            <a:lvl1pPr marL="128588" marR="0" indent="-128588" algn="ctr" defTabSz="342900" rtl="0" eaLnBrk="0" fontAlgn="base" latinLnBrk="0" hangingPunct="0">
              <a:lnSpc>
                <a:spcPct val="100000"/>
              </a:lnSpc>
              <a:spcBef>
                <a:spcPct val="0"/>
              </a:spcBef>
              <a:spcAft>
                <a:spcPct val="0"/>
              </a:spcAft>
              <a:buClrTx/>
              <a:buSzTx/>
              <a:buFontTx/>
              <a:buNone/>
              <a:tabLst/>
              <a:defRPr sz="900" baseline="0">
                <a:solidFill>
                  <a:schemeClr val="bg1"/>
                </a:solidFill>
                <a:latin typeface="Source Sans Pro"/>
                <a:cs typeface="Source Sans Pro"/>
              </a:defRPr>
            </a:lvl1pPr>
          </a:lstStyle>
          <a:p>
            <a:r>
              <a:rPr lang="en-US" dirty="0"/>
              <a:t>Drop Image Here</a:t>
            </a:r>
          </a:p>
        </p:txBody>
      </p:sp>
    </p:spTree>
    <p:extLst>
      <p:ext uri="{BB962C8B-B14F-4D97-AF65-F5344CB8AC3E}">
        <p14:creationId xmlns:p14="http://schemas.microsoft.com/office/powerpoint/2010/main" val="35924966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8_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917803" y="1520237"/>
            <a:ext cx="3143578" cy="1977359"/>
          </a:xfrm>
          <a:custGeom>
            <a:avLst/>
            <a:gdLst>
              <a:gd name="connsiteX0" fmla="*/ 0 w 4191437"/>
              <a:gd name="connsiteY0" fmla="*/ 0 h 2636479"/>
              <a:gd name="connsiteX1" fmla="*/ 4191437 w 4191437"/>
              <a:gd name="connsiteY1" fmla="*/ 0 h 2636479"/>
              <a:gd name="connsiteX2" fmla="*/ 4191437 w 4191437"/>
              <a:gd name="connsiteY2" fmla="*/ 2636479 h 2636479"/>
              <a:gd name="connsiteX3" fmla="*/ 0 w 4191437"/>
              <a:gd name="connsiteY3" fmla="*/ 2636479 h 2636479"/>
            </a:gdLst>
            <a:ahLst/>
            <a:cxnLst>
              <a:cxn ang="0">
                <a:pos x="connsiteX0" y="connsiteY0"/>
              </a:cxn>
              <a:cxn ang="0">
                <a:pos x="connsiteX1" y="connsiteY1"/>
              </a:cxn>
              <a:cxn ang="0">
                <a:pos x="connsiteX2" y="connsiteY2"/>
              </a:cxn>
              <a:cxn ang="0">
                <a:pos x="connsiteX3" y="connsiteY3"/>
              </a:cxn>
            </a:cxnLst>
            <a:rect l="l" t="t" r="r" b="b"/>
            <a:pathLst>
              <a:path w="4191437" h="2636479">
                <a:moveTo>
                  <a:pt x="0" y="0"/>
                </a:moveTo>
                <a:lnTo>
                  <a:pt x="4191437" y="0"/>
                </a:lnTo>
                <a:lnTo>
                  <a:pt x="4191437" y="2636479"/>
                </a:lnTo>
                <a:lnTo>
                  <a:pt x="0" y="2636479"/>
                </a:lnTo>
                <a:close/>
              </a:path>
            </a:pathLst>
          </a:custGeom>
          <a:solidFill>
            <a:schemeClr val="bg1">
              <a:lumMod val="95000"/>
            </a:schemeClr>
          </a:solidFill>
          <a:ln w="38100">
            <a:noFill/>
          </a:ln>
        </p:spPr>
        <p:txBody>
          <a:bodyPr vert="horz" wrap="square">
            <a:noAutofit/>
          </a:bodyPr>
          <a:lstStyle>
            <a:lvl1pPr marL="128588" marR="0" indent="-128588" algn="ctr" defTabSz="342900" rtl="0" eaLnBrk="0" fontAlgn="base" latinLnBrk="0" hangingPunct="0">
              <a:lnSpc>
                <a:spcPct val="100000"/>
              </a:lnSpc>
              <a:spcBef>
                <a:spcPct val="0"/>
              </a:spcBef>
              <a:spcAft>
                <a:spcPct val="0"/>
              </a:spcAft>
              <a:buClrTx/>
              <a:buSzTx/>
              <a:buFontTx/>
              <a:buNone/>
              <a:tabLst/>
              <a:defRPr sz="900" baseline="0">
                <a:solidFill>
                  <a:schemeClr val="bg1"/>
                </a:solidFill>
                <a:latin typeface="Source Sans Pro"/>
                <a:cs typeface="Source Sans Pro"/>
              </a:defRPr>
            </a:lvl1pPr>
          </a:lstStyle>
          <a:p>
            <a:r>
              <a:rPr lang="en-US" dirty="0"/>
              <a:t>Drop Image Here</a:t>
            </a:r>
          </a:p>
        </p:txBody>
      </p:sp>
    </p:spTree>
    <p:extLst>
      <p:ext uri="{BB962C8B-B14F-4D97-AF65-F5344CB8AC3E}">
        <p14:creationId xmlns:p14="http://schemas.microsoft.com/office/powerpoint/2010/main" val="293688819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68331C1-D1B5-4368-91BF-ACC7F8A165A7}" type="datetimeFigureOut">
              <a:rPr lang="en-US" smtClean="0"/>
              <a:t>11/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Tree>
    <p:extLst>
      <p:ext uri="{BB962C8B-B14F-4D97-AF65-F5344CB8AC3E}">
        <p14:creationId xmlns:p14="http://schemas.microsoft.com/office/powerpoint/2010/main" val="2115180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6_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3907594" y="1987718"/>
            <a:ext cx="1304282" cy="2321322"/>
          </a:xfrm>
          <a:custGeom>
            <a:avLst/>
            <a:gdLst>
              <a:gd name="connsiteX0" fmla="*/ 0 w 1739042"/>
              <a:gd name="connsiteY0" fmla="*/ 0 h 3095096"/>
              <a:gd name="connsiteX1" fmla="*/ 1739042 w 1739042"/>
              <a:gd name="connsiteY1" fmla="*/ 0 h 3095096"/>
              <a:gd name="connsiteX2" fmla="*/ 1739042 w 1739042"/>
              <a:gd name="connsiteY2" fmla="*/ 3095096 h 3095096"/>
              <a:gd name="connsiteX3" fmla="*/ 0 w 1739042"/>
              <a:gd name="connsiteY3" fmla="*/ 3095096 h 3095096"/>
            </a:gdLst>
            <a:ahLst/>
            <a:cxnLst>
              <a:cxn ang="0">
                <a:pos x="connsiteX0" y="connsiteY0"/>
              </a:cxn>
              <a:cxn ang="0">
                <a:pos x="connsiteX1" y="connsiteY1"/>
              </a:cxn>
              <a:cxn ang="0">
                <a:pos x="connsiteX2" y="connsiteY2"/>
              </a:cxn>
              <a:cxn ang="0">
                <a:pos x="connsiteX3" y="connsiteY3"/>
              </a:cxn>
            </a:cxnLst>
            <a:rect l="l" t="t" r="r" b="b"/>
            <a:pathLst>
              <a:path w="1739042" h="3095096">
                <a:moveTo>
                  <a:pt x="0" y="0"/>
                </a:moveTo>
                <a:lnTo>
                  <a:pt x="1739042" y="0"/>
                </a:lnTo>
                <a:lnTo>
                  <a:pt x="1739042" y="3095096"/>
                </a:lnTo>
                <a:lnTo>
                  <a:pt x="0" y="3095096"/>
                </a:lnTo>
                <a:close/>
              </a:path>
            </a:pathLst>
          </a:custGeom>
          <a:solidFill>
            <a:schemeClr val="bg1">
              <a:lumMod val="95000"/>
            </a:schemeClr>
          </a:solidFill>
          <a:ln w="38100">
            <a:noFill/>
          </a:ln>
        </p:spPr>
        <p:txBody>
          <a:bodyPr vert="horz" wrap="square">
            <a:noAutofit/>
          </a:bodyPr>
          <a:lstStyle>
            <a:lvl1pPr marL="128588" marR="0" indent="-128588" algn="ctr" defTabSz="342900" rtl="0" eaLnBrk="0" fontAlgn="base" latinLnBrk="0" hangingPunct="0">
              <a:lnSpc>
                <a:spcPct val="100000"/>
              </a:lnSpc>
              <a:spcBef>
                <a:spcPct val="0"/>
              </a:spcBef>
              <a:spcAft>
                <a:spcPct val="0"/>
              </a:spcAft>
              <a:buClrTx/>
              <a:buSzTx/>
              <a:buFontTx/>
              <a:buNone/>
              <a:tabLst/>
              <a:defRPr sz="900" baseline="0">
                <a:solidFill>
                  <a:schemeClr val="bg1"/>
                </a:solidFill>
                <a:latin typeface="Source Sans Pro"/>
                <a:cs typeface="Source Sans Pro"/>
              </a:defRPr>
            </a:lvl1pPr>
          </a:lstStyle>
          <a:p>
            <a:r>
              <a:rPr lang="en-US" dirty="0"/>
              <a:t>Drop Image Here</a:t>
            </a:r>
          </a:p>
        </p:txBody>
      </p:sp>
    </p:spTree>
    <p:extLst>
      <p:ext uri="{BB962C8B-B14F-4D97-AF65-F5344CB8AC3E}">
        <p14:creationId xmlns:p14="http://schemas.microsoft.com/office/powerpoint/2010/main" val="192992625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28650" y="4767266"/>
            <a:ext cx="2057400" cy="273844"/>
          </a:xfrm>
          <a:prstGeom prst="rect">
            <a:avLst/>
          </a:prstGeom>
        </p:spPr>
        <p:txBody>
          <a:bodyPr/>
          <a:lstStyle/>
          <a:p>
            <a:endParaRPr lang="en-US"/>
          </a:p>
        </p:txBody>
      </p:sp>
      <p:sp>
        <p:nvSpPr>
          <p:cNvPr id="4" name="Footer Placeholder 3"/>
          <p:cNvSpPr>
            <a:spLocks noGrp="1"/>
          </p:cNvSpPr>
          <p:nvPr>
            <p:ph type="ftr" sz="quarter" idx="11"/>
          </p:nvPr>
        </p:nvSpPr>
        <p:spPr>
          <a:xfrm>
            <a:off x="3028950" y="4767266"/>
            <a:ext cx="30861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pPr algn="ctr"/>
            <a:fld id="{D59F26C4-D45C-449B-845B-D6966B6EB65F}" type="slidenum">
              <a:rPr lang="en-US" smtClean="0"/>
              <a:pPr algn="ctr"/>
              <a:t>‹#›</a:t>
            </a:fld>
            <a:endParaRPr lang="en-US"/>
          </a:p>
        </p:txBody>
      </p:sp>
    </p:spTree>
    <p:extLst>
      <p:ext uri="{BB962C8B-B14F-4D97-AF65-F5344CB8AC3E}">
        <p14:creationId xmlns:p14="http://schemas.microsoft.com/office/powerpoint/2010/main" val="6715897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F2068C-1874-4342-92B0-00676A97674A}"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6257DCC6-2B75-504A-934C-AC38AD31CD1F}" type="slidenum">
              <a:rPr lang="en-US" smtClean="0"/>
              <a:t>‹#›</a:t>
            </a:fld>
            <a:endParaRPr lang="en-US"/>
          </a:p>
        </p:txBody>
      </p:sp>
      <p:sp>
        <p:nvSpPr>
          <p:cNvPr id="6" name="Picture Placeholder 7"/>
          <p:cNvSpPr>
            <a:spLocks noGrp="1"/>
          </p:cNvSpPr>
          <p:nvPr>
            <p:ph type="pic" sz="quarter" idx="13"/>
          </p:nvPr>
        </p:nvSpPr>
        <p:spPr>
          <a:xfrm>
            <a:off x="4816046" y="0"/>
            <a:ext cx="4327954" cy="5143500"/>
          </a:xfrm>
        </p:spPr>
      </p:sp>
    </p:spTree>
    <p:extLst>
      <p:ext uri="{BB962C8B-B14F-4D97-AF65-F5344CB8AC3E}">
        <p14:creationId xmlns:p14="http://schemas.microsoft.com/office/powerpoint/2010/main" val="121323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F2068C-1874-4342-92B0-00676A97674A}"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6257DCC6-2B75-504A-934C-AC38AD31CD1F}" type="slidenum">
              <a:rPr lang="en-US" smtClean="0"/>
              <a:t>‹#›</a:t>
            </a:fld>
            <a:endParaRPr lang="en-US"/>
          </a:p>
        </p:txBody>
      </p:sp>
      <p:sp>
        <p:nvSpPr>
          <p:cNvPr id="6" name="Picture Placeholder 7"/>
          <p:cNvSpPr>
            <a:spLocks noGrp="1"/>
          </p:cNvSpPr>
          <p:nvPr>
            <p:ph type="pic" sz="quarter" idx="13"/>
          </p:nvPr>
        </p:nvSpPr>
        <p:spPr>
          <a:xfrm>
            <a:off x="0" y="0"/>
            <a:ext cx="4327954" cy="5143500"/>
          </a:xfrm>
        </p:spPr>
      </p:sp>
    </p:spTree>
    <p:extLst>
      <p:ext uri="{BB962C8B-B14F-4D97-AF65-F5344CB8AC3E}">
        <p14:creationId xmlns:p14="http://schemas.microsoft.com/office/powerpoint/2010/main" val="4236436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Tree>
    <p:extLst>
      <p:ext uri="{BB962C8B-B14F-4D97-AF65-F5344CB8AC3E}">
        <p14:creationId xmlns:p14="http://schemas.microsoft.com/office/powerpoint/2010/main" val="2723528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884950" y="1599508"/>
            <a:ext cx="1858832" cy="1858832"/>
          </a:xfrm>
          <a:custGeom>
            <a:avLst/>
            <a:gdLst>
              <a:gd name="connsiteX0" fmla="*/ 1239221 w 2478442"/>
              <a:gd name="connsiteY0" fmla="*/ 0 h 2478442"/>
              <a:gd name="connsiteX1" fmla="*/ 2478442 w 2478442"/>
              <a:gd name="connsiteY1" fmla="*/ 1239221 h 2478442"/>
              <a:gd name="connsiteX2" fmla="*/ 1239221 w 2478442"/>
              <a:gd name="connsiteY2" fmla="*/ 2478442 h 2478442"/>
              <a:gd name="connsiteX3" fmla="*/ 0 w 2478442"/>
              <a:gd name="connsiteY3" fmla="*/ 1239221 h 2478442"/>
              <a:gd name="connsiteX4" fmla="*/ 1239221 w 2478442"/>
              <a:gd name="connsiteY4" fmla="*/ 0 h 247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442" h="2478442">
                <a:moveTo>
                  <a:pt x="1239221" y="0"/>
                </a:moveTo>
                <a:cubicBezTo>
                  <a:pt x="1923624" y="0"/>
                  <a:pt x="2478442" y="554818"/>
                  <a:pt x="2478442" y="1239221"/>
                </a:cubicBezTo>
                <a:cubicBezTo>
                  <a:pt x="2478442" y="1923624"/>
                  <a:pt x="1923624" y="2478442"/>
                  <a:pt x="1239221" y="2478442"/>
                </a:cubicBezTo>
                <a:cubicBezTo>
                  <a:pt x="554818" y="2478442"/>
                  <a:pt x="0" y="1923624"/>
                  <a:pt x="0" y="1239221"/>
                </a:cubicBezTo>
                <a:cubicBezTo>
                  <a:pt x="0" y="554818"/>
                  <a:pt x="554818" y="0"/>
                  <a:pt x="1239221" y="0"/>
                </a:cubicBezTo>
                <a:close/>
              </a:path>
            </a:pathLst>
          </a:custGeom>
          <a:solidFill>
            <a:schemeClr val="bg1">
              <a:lumMod val="95000"/>
            </a:schemeClr>
          </a:solidFill>
        </p:spPr>
        <p:txBody>
          <a:bodyPr wrap="square">
            <a:noAutofit/>
          </a:bodyPr>
          <a:lstStyle>
            <a:lvl1pPr>
              <a:defRPr sz="900"/>
            </a:lvl1pPr>
          </a:lstStyle>
          <a:p>
            <a:endParaRPr lang="en-US"/>
          </a:p>
        </p:txBody>
      </p:sp>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Tree>
    <p:extLst>
      <p:ext uri="{BB962C8B-B14F-4D97-AF65-F5344CB8AC3E}">
        <p14:creationId xmlns:p14="http://schemas.microsoft.com/office/powerpoint/2010/main" val="926638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1289323" y="1397924"/>
            <a:ext cx="2393406" cy="2393406"/>
          </a:xfrm>
          <a:custGeom>
            <a:avLst/>
            <a:gdLst>
              <a:gd name="connsiteX0" fmla="*/ 1595604 w 3191208"/>
              <a:gd name="connsiteY0" fmla="*/ 0 h 3191208"/>
              <a:gd name="connsiteX1" fmla="*/ 3191208 w 3191208"/>
              <a:gd name="connsiteY1" fmla="*/ 1595604 h 3191208"/>
              <a:gd name="connsiteX2" fmla="*/ 1595604 w 3191208"/>
              <a:gd name="connsiteY2" fmla="*/ 3191208 h 3191208"/>
              <a:gd name="connsiteX3" fmla="*/ 0 w 3191208"/>
              <a:gd name="connsiteY3" fmla="*/ 1595604 h 3191208"/>
              <a:gd name="connsiteX4" fmla="*/ 1595604 w 3191208"/>
              <a:gd name="connsiteY4" fmla="*/ 0 h 3191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1208" h="3191208">
                <a:moveTo>
                  <a:pt x="1595604" y="0"/>
                </a:moveTo>
                <a:cubicBezTo>
                  <a:pt x="2476832" y="0"/>
                  <a:pt x="3191208" y="714376"/>
                  <a:pt x="3191208" y="1595604"/>
                </a:cubicBezTo>
                <a:cubicBezTo>
                  <a:pt x="3191208" y="2476832"/>
                  <a:pt x="2476832" y="3191208"/>
                  <a:pt x="1595604" y="3191208"/>
                </a:cubicBezTo>
                <a:cubicBezTo>
                  <a:pt x="714376" y="3191208"/>
                  <a:pt x="0" y="2476832"/>
                  <a:pt x="0" y="1595604"/>
                </a:cubicBezTo>
                <a:cubicBezTo>
                  <a:pt x="0" y="714376"/>
                  <a:pt x="714376" y="0"/>
                  <a:pt x="1595604" y="0"/>
                </a:cubicBezTo>
                <a:close/>
              </a:path>
            </a:pathLst>
          </a:custGeom>
          <a:solidFill>
            <a:schemeClr val="bg1">
              <a:lumMod val="95000"/>
            </a:schemeClr>
          </a:solidFill>
        </p:spPr>
        <p:txBody>
          <a:bodyPr wrap="square">
            <a:noAutofit/>
          </a:bodyPr>
          <a:lstStyle>
            <a:lvl1pPr>
              <a:defRPr sz="900"/>
            </a:lvl1pPr>
          </a:lstStyle>
          <a:p>
            <a:endParaRPr lang="en-US"/>
          </a:p>
        </p:txBody>
      </p:sp>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Tree>
    <p:extLst>
      <p:ext uri="{BB962C8B-B14F-4D97-AF65-F5344CB8AC3E}">
        <p14:creationId xmlns:p14="http://schemas.microsoft.com/office/powerpoint/2010/main" val="219903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31323" y="636932"/>
            <a:ext cx="7881358" cy="3869638"/>
          </a:xfrm>
          <a:custGeom>
            <a:avLst/>
            <a:gdLst>
              <a:gd name="connsiteX0" fmla="*/ 0 w 10508477"/>
              <a:gd name="connsiteY0" fmla="*/ 0 h 5159517"/>
              <a:gd name="connsiteX1" fmla="*/ 10508477 w 10508477"/>
              <a:gd name="connsiteY1" fmla="*/ 0 h 5159517"/>
              <a:gd name="connsiteX2" fmla="*/ 10508477 w 10508477"/>
              <a:gd name="connsiteY2" fmla="*/ 5159517 h 5159517"/>
              <a:gd name="connsiteX3" fmla="*/ 0 w 10508477"/>
              <a:gd name="connsiteY3" fmla="*/ 5159517 h 5159517"/>
            </a:gdLst>
            <a:ahLst/>
            <a:cxnLst>
              <a:cxn ang="0">
                <a:pos x="connsiteX0" y="connsiteY0"/>
              </a:cxn>
              <a:cxn ang="0">
                <a:pos x="connsiteX1" y="connsiteY1"/>
              </a:cxn>
              <a:cxn ang="0">
                <a:pos x="connsiteX2" y="connsiteY2"/>
              </a:cxn>
              <a:cxn ang="0">
                <a:pos x="connsiteX3" y="connsiteY3"/>
              </a:cxn>
            </a:cxnLst>
            <a:rect l="l" t="t" r="r" b="b"/>
            <a:pathLst>
              <a:path w="10508477" h="5159517">
                <a:moveTo>
                  <a:pt x="0" y="0"/>
                </a:moveTo>
                <a:lnTo>
                  <a:pt x="10508477" y="0"/>
                </a:lnTo>
                <a:lnTo>
                  <a:pt x="10508477" y="5159517"/>
                </a:lnTo>
                <a:lnTo>
                  <a:pt x="0" y="5159517"/>
                </a:lnTo>
                <a:close/>
              </a:path>
            </a:pathLst>
          </a:custGeom>
          <a:solidFill>
            <a:schemeClr val="bg1">
              <a:lumMod val="95000"/>
            </a:schemeClr>
          </a:solidFill>
        </p:spPr>
        <p:txBody>
          <a:bodyPr wrap="square">
            <a:noAutofit/>
          </a:bodyPr>
          <a:lstStyle>
            <a:lvl1pPr>
              <a:defRPr sz="1100"/>
            </a:lvl1pPr>
          </a:lstStyle>
          <a:p>
            <a:endParaRPr lang="en-US"/>
          </a:p>
        </p:txBody>
      </p:sp>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Tree>
    <p:extLst>
      <p:ext uri="{BB962C8B-B14F-4D97-AF65-F5344CB8AC3E}">
        <p14:creationId xmlns:p14="http://schemas.microsoft.com/office/powerpoint/2010/main" val="3481386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910730" y="937574"/>
            <a:ext cx="1322540" cy="1322538"/>
          </a:xfrm>
          <a:custGeom>
            <a:avLst/>
            <a:gdLst>
              <a:gd name="connsiteX0" fmla="*/ 881692 w 1763387"/>
              <a:gd name="connsiteY0" fmla="*/ 0 h 1763384"/>
              <a:gd name="connsiteX1" fmla="*/ 1265180 w 1763387"/>
              <a:gd name="connsiteY1" fmla="*/ 158846 h 1763384"/>
              <a:gd name="connsiteX2" fmla="*/ 1604540 w 1763387"/>
              <a:gd name="connsiteY2" fmla="*/ 498205 h 1763384"/>
              <a:gd name="connsiteX3" fmla="*/ 1604540 w 1763387"/>
              <a:gd name="connsiteY3" fmla="*/ 1265182 h 1763384"/>
              <a:gd name="connsiteX4" fmla="*/ 1265183 w 1763387"/>
              <a:gd name="connsiteY4" fmla="*/ 1604539 h 1763384"/>
              <a:gd name="connsiteX5" fmla="*/ 498207 w 1763387"/>
              <a:gd name="connsiteY5" fmla="*/ 1604539 h 1763384"/>
              <a:gd name="connsiteX6" fmla="*/ 158847 w 1763387"/>
              <a:gd name="connsiteY6" fmla="*/ 1265179 h 1763384"/>
              <a:gd name="connsiteX7" fmla="*/ 158847 w 1763387"/>
              <a:gd name="connsiteY7" fmla="*/ 498203 h 1763384"/>
              <a:gd name="connsiteX8" fmla="*/ 498204 w 1763387"/>
              <a:gd name="connsiteY8" fmla="*/ 158846 h 1763384"/>
              <a:gd name="connsiteX9" fmla="*/ 881692 w 1763387"/>
              <a:gd name="connsiteY9" fmla="*/ 0 h 176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3387" h="1763384">
                <a:moveTo>
                  <a:pt x="881692" y="0"/>
                </a:moveTo>
                <a:cubicBezTo>
                  <a:pt x="1020487" y="0"/>
                  <a:pt x="1159283" y="52948"/>
                  <a:pt x="1265180" y="158846"/>
                </a:cubicBezTo>
                <a:lnTo>
                  <a:pt x="1604540" y="498205"/>
                </a:lnTo>
                <a:cubicBezTo>
                  <a:pt x="1816336" y="710001"/>
                  <a:pt x="1816336" y="1053387"/>
                  <a:pt x="1604540" y="1265182"/>
                </a:cubicBezTo>
                <a:lnTo>
                  <a:pt x="1265183" y="1604539"/>
                </a:lnTo>
                <a:cubicBezTo>
                  <a:pt x="1053389" y="1816333"/>
                  <a:pt x="710001" y="1816333"/>
                  <a:pt x="498207" y="1604539"/>
                </a:cubicBezTo>
                <a:lnTo>
                  <a:pt x="158847" y="1265179"/>
                </a:lnTo>
                <a:cubicBezTo>
                  <a:pt x="-52948" y="1053385"/>
                  <a:pt x="-52948" y="709998"/>
                  <a:pt x="158847" y="498203"/>
                </a:cubicBezTo>
                <a:lnTo>
                  <a:pt x="498204" y="158846"/>
                </a:lnTo>
                <a:cubicBezTo>
                  <a:pt x="604102" y="52948"/>
                  <a:pt x="742896" y="0"/>
                  <a:pt x="881692" y="0"/>
                </a:cubicBezTo>
                <a:close/>
              </a:path>
            </a:pathLst>
          </a:custGeom>
          <a:solidFill>
            <a:schemeClr val="bg1">
              <a:lumMod val="95000"/>
            </a:schemeClr>
          </a:solidFill>
        </p:spPr>
        <p:txBody>
          <a:bodyPr wrap="square">
            <a:noAutofit/>
          </a:bodyPr>
          <a:lstStyle>
            <a:lvl1pPr>
              <a:defRPr sz="900"/>
            </a:lvl1pPr>
          </a:lstStyle>
          <a:p>
            <a:endParaRPr lang="en-US"/>
          </a:p>
        </p:txBody>
      </p:sp>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Tree>
    <p:extLst>
      <p:ext uri="{BB962C8B-B14F-4D97-AF65-F5344CB8AC3E}">
        <p14:creationId xmlns:p14="http://schemas.microsoft.com/office/powerpoint/2010/main" val="2208836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
        <p:nvSpPr>
          <p:cNvPr id="12" name="Picture Placeholder 11"/>
          <p:cNvSpPr>
            <a:spLocks noGrp="1"/>
          </p:cNvSpPr>
          <p:nvPr>
            <p:ph type="pic" sz="quarter" idx="13"/>
          </p:nvPr>
        </p:nvSpPr>
        <p:spPr>
          <a:xfrm>
            <a:off x="0" y="1"/>
            <a:ext cx="9144000" cy="2557415"/>
          </a:xfrm>
          <a:custGeom>
            <a:avLst/>
            <a:gdLst>
              <a:gd name="connsiteX0" fmla="*/ 0 w 12192000"/>
              <a:gd name="connsiteY0" fmla="*/ 0 h 3908121"/>
              <a:gd name="connsiteX1" fmla="*/ 12192000 w 12192000"/>
              <a:gd name="connsiteY1" fmla="*/ 0 h 3908121"/>
              <a:gd name="connsiteX2" fmla="*/ 12192000 w 12192000"/>
              <a:gd name="connsiteY2" fmla="*/ 3908121 h 3908121"/>
              <a:gd name="connsiteX3" fmla="*/ 0 w 12192000"/>
              <a:gd name="connsiteY3" fmla="*/ 3908121 h 3908121"/>
            </a:gdLst>
            <a:ahLst/>
            <a:cxnLst>
              <a:cxn ang="0">
                <a:pos x="connsiteX0" y="connsiteY0"/>
              </a:cxn>
              <a:cxn ang="0">
                <a:pos x="connsiteX1" y="connsiteY1"/>
              </a:cxn>
              <a:cxn ang="0">
                <a:pos x="connsiteX2" y="connsiteY2"/>
              </a:cxn>
              <a:cxn ang="0">
                <a:pos x="connsiteX3" y="connsiteY3"/>
              </a:cxn>
            </a:cxnLst>
            <a:rect l="l" t="t" r="r" b="b"/>
            <a:pathLst>
              <a:path w="12192000" h="3908121">
                <a:moveTo>
                  <a:pt x="0" y="0"/>
                </a:moveTo>
                <a:lnTo>
                  <a:pt x="12192000" y="0"/>
                </a:lnTo>
                <a:lnTo>
                  <a:pt x="12192000" y="3908121"/>
                </a:lnTo>
                <a:lnTo>
                  <a:pt x="0" y="3908121"/>
                </a:lnTo>
                <a:close/>
              </a:path>
            </a:pathLst>
          </a:custGeom>
          <a:solidFill>
            <a:schemeClr val="bg1">
              <a:lumMod val="95000"/>
            </a:schemeClr>
          </a:solidFill>
        </p:spPr>
        <p:txBody>
          <a:bodyPr wrap="square">
            <a:noAutofit/>
          </a:bodyPr>
          <a:lstStyle>
            <a:lvl1pPr>
              <a:defRPr sz="1100"/>
            </a:lvl1pPr>
          </a:lstStyle>
          <a:p>
            <a:endParaRPr lang="en-US"/>
          </a:p>
        </p:txBody>
      </p:sp>
    </p:spTree>
    <p:extLst>
      <p:ext uri="{BB962C8B-B14F-4D97-AF65-F5344CB8AC3E}">
        <p14:creationId xmlns:p14="http://schemas.microsoft.com/office/powerpoint/2010/main" val="517478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8331C1-D1B5-4368-91BF-ACC7F8A165A7}" type="datetimeFigureOut">
              <a:rPr lang="en-US" smtClean="0"/>
              <a:t>11/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C20B6E8A-0E50-487B-97A2-0BD9B22568DE}" type="slidenum">
              <a:rPr lang="en-US" smtClean="0"/>
              <a:t>‹#›</a:t>
            </a:fld>
            <a:endParaRPr lang="en-US"/>
          </a:p>
        </p:txBody>
      </p:sp>
      <p:sp>
        <p:nvSpPr>
          <p:cNvPr id="12" name="Picture Placeholder 11"/>
          <p:cNvSpPr>
            <a:spLocks noGrp="1"/>
          </p:cNvSpPr>
          <p:nvPr>
            <p:ph type="pic" sz="quarter" idx="13"/>
          </p:nvPr>
        </p:nvSpPr>
        <p:spPr>
          <a:xfrm>
            <a:off x="0" y="1"/>
            <a:ext cx="9144000" cy="5143499"/>
          </a:xfrm>
          <a:custGeom>
            <a:avLst/>
            <a:gdLst>
              <a:gd name="connsiteX0" fmla="*/ 0 w 12192000"/>
              <a:gd name="connsiteY0" fmla="*/ 0 h 3908121"/>
              <a:gd name="connsiteX1" fmla="*/ 12192000 w 12192000"/>
              <a:gd name="connsiteY1" fmla="*/ 0 h 3908121"/>
              <a:gd name="connsiteX2" fmla="*/ 12192000 w 12192000"/>
              <a:gd name="connsiteY2" fmla="*/ 3908121 h 3908121"/>
              <a:gd name="connsiteX3" fmla="*/ 0 w 12192000"/>
              <a:gd name="connsiteY3" fmla="*/ 3908121 h 3908121"/>
            </a:gdLst>
            <a:ahLst/>
            <a:cxnLst>
              <a:cxn ang="0">
                <a:pos x="connsiteX0" y="connsiteY0"/>
              </a:cxn>
              <a:cxn ang="0">
                <a:pos x="connsiteX1" y="connsiteY1"/>
              </a:cxn>
              <a:cxn ang="0">
                <a:pos x="connsiteX2" y="connsiteY2"/>
              </a:cxn>
              <a:cxn ang="0">
                <a:pos x="connsiteX3" y="connsiteY3"/>
              </a:cxn>
            </a:cxnLst>
            <a:rect l="l" t="t" r="r" b="b"/>
            <a:pathLst>
              <a:path w="12192000" h="3908121">
                <a:moveTo>
                  <a:pt x="0" y="0"/>
                </a:moveTo>
                <a:lnTo>
                  <a:pt x="12192000" y="0"/>
                </a:lnTo>
                <a:lnTo>
                  <a:pt x="12192000" y="3908121"/>
                </a:lnTo>
                <a:lnTo>
                  <a:pt x="0" y="3908121"/>
                </a:lnTo>
                <a:close/>
              </a:path>
            </a:pathLst>
          </a:custGeom>
          <a:solidFill>
            <a:schemeClr val="bg1">
              <a:lumMod val="95000"/>
            </a:schemeClr>
          </a:solidFill>
        </p:spPr>
        <p:txBody>
          <a:bodyPr wrap="square">
            <a:noAutofit/>
          </a:bodyPr>
          <a:lstStyle>
            <a:lvl1pPr>
              <a:defRPr sz="1100"/>
            </a:lvl1pPr>
          </a:lstStyle>
          <a:p>
            <a:endParaRPr lang="en-US"/>
          </a:p>
        </p:txBody>
      </p:sp>
    </p:spTree>
    <p:extLst>
      <p:ext uri="{BB962C8B-B14F-4D97-AF65-F5344CB8AC3E}">
        <p14:creationId xmlns:p14="http://schemas.microsoft.com/office/powerpoint/2010/main" val="3977901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68580" tIns="34290" rIns="68580" bIns="3429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68580" tIns="34290" rIns="68580" bIns="3429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68580" tIns="34290" rIns="68580" bIns="34290" rtlCol="0" anchor="ctr"/>
          <a:lstStyle>
            <a:lvl1pPr algn="l">
              <a:defRPr sz="900">
                <a:solidFill>
                  <a:schemeClr val="tx1">
                    <a:tint val="75000"/>
                  </a:schemeClr>
                </a:solidFill>
              </a:defRPr>
            </a:lvl1pPr>
          </a:lstStyle>
          <a:p>
            <a:fld id="{B68331C1-D1B5-4368-91BF-ACC7F8A165A7}" type="datetimeFigureOut">
              <a:rPr lang="en-US" smtClean="0"/>
              <a:t>11/15/2021</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68580" tIns="34290" rIns="68580" bIns="34290" rtlCol="0" anchor="ctr"/>
          <a:lstStyle>
            <a:lvl1pPr algn="ctr">
              <a:defRPr sz="900">
                <a:solidFill>
                  <a:schemeClr val="tx1">
                    <a:tint val="75000"/>
                  </a:schemeClr>
                </a:solidFill>
              </a:defRPr>
            </a:lvl1pPr>
          </a:lstStyle>
          <a:p>
            <a:endParaRPr lang="en-US" dirty="0"/>
          </a:p>
        </p:txBody>
      </p:sp>
    </p:spTree>
    <p:extLst>
      <p:ext uri="{BB962C8B-B14F-4D97-AF65-F5344CB8AC3E}">
        <p14:creationId xmlns:p14="http://schemas.microsoft.com/office/powerpoint/2010/main" val="3582224107"/>
      </p:ext>
    </p:extLst>
  </p:cSld>
  <p:clrMap bg1="lt1" tx1="dk1" bg2="lt2" tx2="dk2" accent1="accent1" accent2="accent2" accent3="accent3" accent4="accent4" accent5="accent5" accent6="accent6" hlink="hlink" folHlink="folHlink"/>
  <p:sldLayoutIdLst>
    <p:sldLayoutId id="2147483650" r:id="rId1"/>
    <p:sldLayoutId id="2147483654" r:id="rId2"/>
    <p:sldLayoutId id="2147483655" r:id="rId3"/>
    <p:sldLayoutId id="2147483669" r:id="rId4"/>
    <p:sldLayoutId id="2147483750" r:id="rId5"/>
    <p:sldLayoutId id="2147483751" r:id="rId6"/>
    <p:sldLayoutId id="2147483667" r:id="rId7"/>
    <p:sldLayoutId id="2147483677" r:id="rId8"/>
    <p:sldLayoutId id="2147483672" r:id="rId9"/>
    <p:sldLayoutId id="2147483731" r:id="rId10"/>
    <p:sldLayoutId id="2147483665" r:id="rId11"/>
    <p:sldLayoutId id="2147483678" r:id="rId12"/>
    <p:sldLayoutId id="2147483743" r:id="rId13"/>
    <p:sldLayoutId id="2147483744" r:id="rId14"/>
    <p:sldLayoutId id="2147483725" r:id="rId15"/>
    <p:sldLayoutId id="2147483728" r:id="rId16"/>
    <p:sldLayoutId id="2147483729" r:id="rId17"/>
    <p:sldLayoutId id="2147483727" r:id="rId18"/>
    <p:sldLayoutId id="2147483726" r:id="rId19"/>
    <p:sldLayoutId id="2147483724" r:id="rId20"/>
    <p:sldLayoutId id="2147483757" r:id="rId21"/>
    <p:sldLayoutId id="2147483775" r:id="rId22"/>
    <p:sldLayoutId id="2147483776" r:id="rId2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52" userDrawn="1">
          <p15:clr>
            <a:srgbClr val="F26B43"/>
          </p15:clr>
        </p15:guide>
        <p15:guide id="2" pos="52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9.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hyperlink" Target="mailto:kristine.graudumniece@riga.lv" TargetMode="External"/><Relationship Id="rId2" Type="http://schemas.openxmlformats.org/officeDocument/2006/relationships/image" Target="../media/image2.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141746" y="2002369"/>
            <a:ext cx="2860508" cy="1381460"/>
            <a:chOff x="4150895" y="2508027"/>
            <a:chExt cx="3814011" cy="1841946"/>
          </a:xfrm>
        </p:grpSpPr>
        <p:sp>
          <p:nvSpPr>
            <p:cNvPr id="9" name="TextBox 8"/>
            <p:cNvSpPr txBox="1"/>
            <p:nvPr/>
          </p:nvSpPr>
          <p:spPr>
            <a:xfrm>
              <a:off x="4150895" y="2508027"/>
              <a:ext cx="3814011" cy="1046440"/>
            </a:xfrm>
            <a:prstGeom prst="rect">
              <a:avLst/>
            </a:prstGeom>
            <a:noFill/>
          </p:spPr>
          <p:txBody>
            <a:bodyPr wrap="square" rtlCol="0">
              <a:spAutoFit/>
            </a:bodyPr>
            <a:lstStyle/>
            <a:p>
              <a:pPr algn="ctr"/>
              <a:endParaRPr lang="en-US" sz="4500" dirty="0">
                <a:solidFill>
                  <a:schemeClr val="tx2"/>
                </a:solidFill>
                <a:latin typeface="Montserrat SemiBold" panose="00000700000000000000" pitchFamily="50" charset="0"/>
              </a:endParaRPr>
            </a:p>
          </p:txBody>
        </p:sp>
        <p:sp>
          <p:nvSpPr>
            <p:cNvPr id="11" name="Shape 2750"/>
            <p:cNvSpPr/>
            <p:nvPr/>
          </p:nvSpPr>
          <p:spPr>
            <a:xfrm>
              <a:off x="5894484" y="4023168"/>
              <a:ext cx="326831" cy="326805"/>
            </a:xfrm>
            <a:custGeom>
              <a:avLst/>
              <a:gdLst/>
              <a:ahLst/>
              <a:cxnLst>
                <a:cxn ang="0">
                  <a:pos x="wd2" y="hd2"/>
                </a:cxn>
                <a:cxn ang="5400000">
                  <a:pos x="wd2" y="hd2"/>
                </a:cxn>
                <a:cxn ang="10800000">
                  <a:pos x="wd2" y="hd2"/>
                </a:cxn>
                <a:cxn ang="16200000">
                  <a:pos x="wd2" y="hd2"/>
                </a:cxn>
              </a:cxnLst>
              <a:rect l="0" t="0" r="r" b="b"/>
              <a:pathLst>
                <a:path w="21600" h="21600" extrusionOk="0">
                  <a:moveTo>
                    <a:pt x="12973" y="235"/>
                  </a:moveTo>
                  <a:cubicBezTo>
                    <a:pt x="12909" y="205"/>
                    <a:pt x="12840" y="184"/>
                    <a:pt x="12764" y="184"/>
                  </a:cubicBezTo>
                  <a:cubicBezTo>
                    <a:pt x="12493" y="184"/>
                    <a:pt x="12273" y="404"/>
                    <a:pt x="12273" y="675"/>
                  </a:cubicBezTo>
                  <a:cubicBezTo>
                    <a:pt x="12273" y="946"/>
                    <a:pt x="12493" y="1166"/>
                    <a:pt x="12764" y="1166"/>
                  </a:cubicBezTo>
                  <a:lnTo>
                    <a:pt x="12764" y="1179"/>
                  </a:lnTo>
                  <a:cubicBezTo>
                    <a:pt x="17245" y="2089"/>
                    <a:pt x="20618" y="6050"/>
                    <a:pt x="20618" y="10800"/>
                  </a:cubicBezTo>
                  <a:cubicBezTo>
                    <a:pt x="20618" y="16223"/>
                    <a:pt x="16223" y="20618"/>
                    <a:pt x="10800" y="20618"/>
                  </a:cubicBezTo>
                  <a:cubicBezTo>
                    <a:pt x="5377" y="20618"/>
                    <a:pt x="982" y="16223"/>
                    <a:pt x="982" y="10800"/>
                  </a:cubicBezTo>
                  <a:cubicBezTo>
                    <a:pt x="982" y="6050"/>
                    <a:pt x="4355" y="2089"/>
                    <a:pt x="8836" y="1179"/>
                  </a:cubicBezTo>
                  <a:lnTo>
                    <a:pt x="8836" y="1166"/>
                  </a:lnTo>
                  <a:cubicBezTo>
                    <a:pt x="9107" y="1166"/>
                    <a:pt x="9327" y="946"/>
                    <a:pt x="9327" y="675"/>
                  </a:cubicBezTo>
                  <a:cubicBezTo>
                    <a:pt x="9327" y="404"/>
                    <a:pt x="9107" y="184"/>
                    <a:pt x="8836" y="184"/>
                  </a:cubicBezTo>
                  <a:cubicBezTo>
                    <a:pt x="8761" y="184"/>
                    <a:pt x="8691" y="205"/>
                    <a:pt x="8627" y="235"/>
                  </a:cubicBezTo>
                  <a:cubicBezTo>
                    <a:pt x="3706" y="1243"/>
                    <a:pt x="0" y="5582"/>
                    <a:pt x="0" y="10800"/>
                  </a:cubicBezTo>
                  <a:cubicBezTo>
                    <a:pt x="0" y="16765"/>
                    <a:pt x="4835" y="21600"/>
                    <a:pt x="10800" y="21600"/>
                  </a:cubicBezTo>
                  <a:cubicBezTo>
                    <a:pt x="16765" y="21600"/>
                    <a:pt x="21600" y="16765"/>
                    <a:pt x="21600" y="10800"/>
                  </a:cubicBezTo>
                  <a:cubicBezTo>
                    <a:pt x="21600" y="5582"/>
                    <a:pt x="17893" y="1243"/>
                    <a:pt x="12973" y="235"/>
                  </a:cubicBezTo>
                  <a:moveTo>
                    <a:pt x="6873" y="9818"/>
                  </a:moveTo>
                  <a:cubicBezTo>
                    <a:pt x="6602" y="9818"/>
                    <a:pt x="6382" y="10038"/>
                    <a:pt x="6382" y="10309"/>
                  </a:cubicBezTo>
                  <a:cubicBezTo>
                    <a:pt x="6382" y="10445"/>
                    <a:pt x="6437" y="10567"/>
                    <a:pt x="6526" y="10656"/>
                  </a:cubicBezTo>
                  <a:lnTo>
                    <a:pt x="10453" y="14583"/>
                  </a:lnTo>
                  <a:cubicBezTo>
                    <a:pt x="10542" y="14673"/>
                    <a:pt x="10664" y="14727"/>
                    <a:pt x="10800" y="14727"/>
                  </a:cubicBezTo>
                  <a:cubicBezTo>
                    <a:pt x="10936" y="14727"/>
                    <a:pt x="11059" y="14673"/>
                    <a:pt x="11147" y="14583"/>
                  </a:cubicBezTo>
                  <a:lnTo>
                    <a:pt x="15074" y="10656"/>
                  </a:lnTo>
                  <a:cubicBezTo>
                    <a:pt x="15163" y="10567"/>
                    <a:pt x="15218" y="10445"/>
                    <a:pt x="15218" y="10309"/>
                  </a:cubicBezTo>
                  <a:cubicBezTo>
                    <a:pt x="15218" y="10038"/>
                    <a:pt x="14998" y="9818"/>
                    <a:pt x="14727" y="9818"/>
                  </a:cubicBezTo>
                  <a:cubicBezTo>
                    <a:pt x="14592" y="9818"/>
                    <a:pt x="14469" y="9873"/>
                    <a:pt x="14380" y="9962"/>
                  </a:cubicBezTo>
                  <a:lnTo>
                    <a:pt x="11291" y="13051"/>
                  </a:lnTo>
                  <a:lnTo>
                    <a:pt x="11291" y="491"/>
                  </a:lnTo>
                  <a:cubicBezTo>
                    <a:pt x="11291" y="220"/>
                    <a:pt x="11071" y="0"/>
                    <a:pt x="10800" y="0"/>
                  </a:cubicBezTo>
                  <a:cubicBezTo>
                    <a:pt x="10529" y="0"/>
                    <a:pt x="10309" y="220"/>
                    <a:pt x="10309" y="491"/>
                  </a:cubicBezTo>
                  <a:lnTo>
                    <a:pt x="10309" y="13051"/>
                  </a:lnTo>
                  <a:lnTo>
                    <a:pt x="7220" y="9962"/>
                  </a:lnTo>
                  <a:cubicBezTo>
                    <a:pt x="7131" y="9873"/>
                    <a:pt x="7009" y="9818"/>
                    <a:pt x="6873" y="9818"/>
                  </a:cubicBezTo>
                </a:path>
              </a:pathLst>
            </a:custGeom>
            <a:solidFill>
              <a:schemeClr val="tx2"/>
            </a:solidFill>
            <a:ln w="12700">
              <a:noFill/>
              <a:miter lim="400000"/>
            </a:ln>
          </p:spPr>
          <p:txBody>
            <a:bodyPr lIns="19049" tIns="19049" rIns="19049" bIns="19049" anchor="ctr"/>
            <a:lstStyle/>
            <a:p>
              <a:pPr algn="ctr" defTabSz="171435" hangingPunct="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200" kern="0" dirty="0">
                <a:solidFill>
                  <a:srgbClr val="FFFFFF"/>
                </a:solidFill>
                <a:effectLst>
                  <a:outerShdw blurRad="38100" dist="12700" dir="5400000" rotWithShape="0">
                    <a:srgbClr val="000000">
                      <a:alpha val="50000"/>
                    </a:srgbClr>
                  </a:outerShdw>
                </a:effectLst>
                <a:latin typeface="Arial"/>
                <a:ea typeface="Arial"/>
                <a:cs typeface="Arial"/>
                <a:sym typeface="Gill Sans"/>
              </a:endParaRPr>
            </a:p>
          </p:txBody>
        </p:sp>
      </p:grpSp>
      <p:sp>
        <p:nvSpPr>
          <p:cNvPr id="10" name="TextBox 34"/>
          <p:cNvSpPr txBox="1"/>
          <p:nvPr/>
        </p:nvSpPr>
        <p:spPr>
          <a:xfrm>
            <a:off x="-86023" y="5143500"/>
            <a:ext cx="1656660" cy="346249"/>
          </a:xfrm>
          <a:prstGeom prst="rect">
            <a:avLst/>
          </a:prstGeom>
          <a:noFill/>
        </p:spPr>
        <p:txBody>
          <a:bodyPr wrap="square" lIns="68580" tIns="34290" rIns="68580" bIns="3429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Insert picture</a:t>
            </a:r>
          </a:p>
          <a:p>
            <a:r>
              <a:rPr lang="en-US" sz="900"/>
              <a:t>Right click/send to back</a:t>
            </a:r>
          </a:p>
        </p:txBody>
      </p:sp>
      <p:sp>
        <p:nvSpPr>
          <p:cNvPr id="12" name="Rectangle 11"/>
          <p:cNvSpPr/>
          <p:nvPr>
            <p:custDataLst>
              <p:tags r:id="rId1"/>
            </p:custDataLst>
          </p:nvPr>
        </p:nvSpPr>
        <p:spPr>
          <a:xfrm>
            <a:off x="1095375" y="2325707"/>
            <a:ext cx="6953250" cy="42483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lv-LV" sz="2700" spc="-113" dirty="0">
                <a:solidFill>
                  <a:srgbClr val="383838"/>
                </a:solidFill>
                <a:latin typeface="Oswald" panose="00000500000000000000" pitchFamily="2" charset="-70"/>
                <a:ea typeface="Roboto" panose="02000000000000000000" pitchFamily="2" charset="0"/>
                <a:cs typeface="Open Sans Semibold" panose="020B0706030804020204" pitchFamily="34" charset="0"/>
              </a:rPr>
              <a:t>SAIMNIECISKAIS IZDEVĪGUMS </a:t>
            </a:r>
          </a:p>
          <a:p>
            <a:pPr algn="ctr"/>
            <a:r>
              <a:rPr lang="lv-LV" sz="2700" spc="-113" dirty="0">
                <a:solidFill>
                  <a:srgbClr val="383838"/>
                </a:solidFill>
                <a:latin typeface="Oswald" panose="00000500000000000000" pitchFamily="2" charset="-70"/>
                <a:ea typeface="Roboto" panose="02000000000000000000" pitchFamily="2" charset="0"/>
                <a:cs typeface="Open Sans Semibold" panose="020B0706030804020204" pitchFamily="34" charset="0"/>
              </a:rPr>
              <a:t>ĒDINĀŠANAS PAKALPOJUMU IEPIRKUMO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flipH="1">
            <a:off x="-1371990" y="2295695"/>
            <a:ext cx="4228594" cy="1180687"/>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flipH="1">
            <a:off x="6274366" y="1640669"/>
            <a:ext cx="4228594" cy="1180687"/>
          </a:xfrm>
          <a:prstGeom prst="rect">
            <a:avLst/>
          </a:prstGeom>
        </p:spPr>
      </p:pic>
      <p:sp>
        <p:nvSpPr>
          <p:cNvPr id="15" name="TextBox 14">
            <a:extLst>
              <a:ext uri="{FF2B5EF4-FFF2-40B4-BE49-F238E27FC236}">
                <a16:creationId xmlns:a16="http://schemas.microsoft.com/office/drawing/2014/main" id="{7771D684-65C1-4DDF-8011-3130B7BDE056}"/>
              </a:ext>
            </a:extLst>
          </p:cNvPr>
          <p:cNvSpPr txBox="1"/>
          <p:nvPr/>
        </p:nvSpPr>
        <p:spPr>
          <a:xfrm>
            <a:off x="2408561" y="3506108"/>
            <a:ext cx="4572000" cy="738664"/>
          </a:xfrm>
          <a:prstGeom prst="rect">
            <a:avLst/>
          </a:prstGeom>
          <a:noFill/>
        </p:spPr>
        <p:txBody>
          <a:bodyPr wrap="square">
            <a:spAutoFit/>
          </a:bodyPr>
          <a:lstStyle/>
          <a:p>
            <a:pPr marR="18415" algn="ctr"/>
            <a:r>
              <a:rPr lang="lv-LV" sz="1400" dirty="0">
                <a:effectLst/>
                <a:latin typeface="Oswald" panose="00000500000000000000" pitchFamily="2" charset="-70"/>
                <a:ea typeface="Calibri" panose="020F0502020204030204" pitchFamily="34" charset="0"/>
              </a:rPr>
              <a:t>Iepirkumu uzraudzības biroja konference </a:t>
            </a:r>
            <a:r>
              <a:rPr lang="lv-LV" sz="1400" dirty="0">
                <a:solidFill>
                  <a:srgbClr val="000000"/>
                </a:solidFill>
                <a:effectLst/>
                <a:latin typeface="Oswald" panose="00000500000000000000" pitchFamily="2" charset="-70"/>
                <a:ea typeface="Calibri" panose="020F0502020204030204" pitchFamily="34" charset="0"/>
              </a:rPr>
              <a:t>“Saimnieciskais izdevīgums – pieredzes stāsti”</a:t>
            </a:r>
            <a:endParaRPr lang="lv-LV" sz="1400" dirty="0">
              <a:effectLst/>
              <a:latin typeface="Oswald" panose="00000500000000000000" pitchFamily="2" charset="-70"/>
              <a:ea typeface="Calibri" panose="020F0502020204030204" pitchFamily="34" charset="0"/>
            </a:endParaRPr>
          </a:p>
          <a:p>
            <a:pPr marR="18415" algn="ctr"/>
            <a:r>
              <a:rPr lang="en-GB" sz="1400" dirty="0">
                <a:effectLst/>
                <a:latin typeface="Oswald" panose="00000500000000000000" pitchFamily="2" charset="-70"/>
                <a:ea typeface="Calibri" panose="020F0502020204030204" pitchFamily="34" charset="0"/>
              </a:rPr>
              <a:t>2021. </a:t>
            </a:r>
            <a:r>
              <a:rPr lang="lv-LV" sz="1400" dirty="0">
                <a:effectLst/>
                <a:latin typeface="Oswald" panose="00000500000000000000" pitchFamily="2" charset="-70"/>
                <a:ea typeface="Calibri" panose="020F0502020204030204" pitchFamily="34" charset="0"/>
              </a:rPr>
              <a:t>gada 25. novembris</a:t>
            </a:r>
          </a:p>
        </p:txBody>
      </p:sp>
    </p:spTree>
    <p:extLst>
      <p:ext uri="{BB962C8B-B14F-4D97-AF65-F5344CB8AC3E}">
        <p14:creationId xmlns:p14="http://schemas.microsoft.com/office/powerpoint/2010/main" val="40407729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4572000" y="-23924"/>
            <a:ext cx="0" cy="1138349"/>
          </a:xfrm>
          <a:prstGeom prst="line">
            <a:avLst/>
          </a:prstGeom>
          <a:ln w="285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000" y="3838575"/>
            <a:ext cx="0" cy="1346563"/>
          </a:xfrm>
          <a:prstGeom prst="line">
            <a:avLst/>
          </a:prstGeom>
          <a:ln w="285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762000" y="1942970"/>
            <a:ext cx="2003645" cy="927465"/>
            <a:chOff x="1016000" y="2590624"/>
            <a:chExt cx="2671527" cy="1236620"/>
          </a:xfrm>
        </p:grpSpPr>
        <p:sp>
          <p:nvSpPr>
            <p:cNvPr id="22" name="TextBox 21"/>
            <p:cNvSpPr txBox="1"/>
            <p:nvPr/>
          </p:nvSpPr>
          <p:spPr>
            <a:xfrm>
              <a:off x="1016000" y="2590624"/>
              <a:ext cx="2671527" cy="58477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spc="-151">
                  <a:solidFill>
                    <a:schemeClr val="bg1"/>
                  </a:solidFill>
                  <a:latin typeface="Titillium" panose="00000500000000000000" pitchFamily="50" charset="0"/>
                  <a:ea typeface="Roboto" panose="02000000000000000000" pitchFamily="2" charset="0"/>
                  <a:cs typeface="Open Sans Semibold" panose="020B07060308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2100" spc="0" dirty="0">
                  <a:latin typeface="Montserrat Regular"/>
                  <a:cs typeface="Montserrat Regular"/>
                </a:rPr>
                <a:t>Our Service</a:t>
              </a:r>
            </a:p>
          </p:txBody>
        </p:sp>
        <p:sp>
          <p:nvSpPr>
            <p:cNvPr id="23" name="TextBox 22"/>
            <p:cNvSpPr txBox="1"/>
            <p:nvPr/>
          </p:nvSpPr>
          <p:spPr>
            <a:xfrm>
              <a:off x="1058013" y="3150136"/>
              <a:ext cx="2615867" cy="677108"/>
            </a:xfrm>
            <a:prstGeom prst="rect">
              <a:avLst/>
            </a:prstGeom>
            <a:noFill/>
          </p:spPr>
          <p:txBody>
            <a:bodyPr wrap="square" rtlCol="0">
              <a:spAutoFit/>
            </a:bodyPr>
            <a:lstStyle/>
            <a:p>
              <a:pPr algn="r"/>
              <a:r>
                <a:rPr lang="id-ID" sz="900" dirty="0">
                  <a:solidFill>
                    <a:schemeClr val="bg1"/>
                  </a:solidFill>
                  <a:latin typeface="Raleway"/>
                  <a:cs typeface="Raleway"/>
                </a:rPr>
                <a:t>Suitable for all category</a:t>
              </a:r>
              <a:r>
                <a:rPr lang="en-US" sz="900" dirty="0">
                  <a:solidFill>
                    <a:schemeClr val="bg1"/>
                  </a:solidFill>
                  <a:latin typeface="Raleway"/>
                  <a:cs typeface="Raleway"/>
                </a:rPr>
                <a:t>, Lorem Ipsum is not simply random text. It has roots in a piece.</a:t>
              </a:r>
              <a:endParaRPr lang="en-US" sz="900" b="1" dirty="0">
                <a:solidFill>
                  <a:schemeClr val="bg1"/>
                </a:solidFill>
                <a:latin typeface="Raleway"/>
                <a:cs typeface="Raleway"/>
              </a:endParaRPr>
            </a:p>
          </p:txBody>
        </p:sp>
      </p:grpSp>
      <p:sp>
        <p:nvSpPr>
          <p:cNvPr id="4" name="Arc 3"/>
          <p:cNvSpPr/>
          <p:nvPr/>
        </p:nvSpPr>
        <p:spPr>
          <a:xfrm>
            <a:off x="3327272" y="1134293"/>
            <a:ext cx="2489454" cy="2489454"/>
          </a:xfrm>
          <a:prstGeom prst="arc">
            <a:avLst>
              <a:gd name="adj1" fmla="val 12042590"/>
              <a:gd name="adj2" fmla="val 20458908"/>
            </a:avLst>
          </a:prstGeom>
          <a:ln w="285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algn="ctr"/>
            <a:endParaRPr lang="en-US">
              <a:solidFill>
                <a:srgbClr val="383838"/>
              </a:solidFill>
            </a:endParaRPr>
          </a:p>
        </p:txBody>
      </p:sp>
      <p:grpSp>
        <p:nvGrpSpPr>
          <p:cNvPr id="3" name="Group 2"/>
          <p:cNvGrpSpPr/>
          <p:nvPr/>
        </p:nvGrpSpPr>
        <p:grpSpPr>
          <a:xfrm>
            <a:off x="6324069" y="1942970"/>
            <a:ext cx="1961900" cy="927465"/>
            <a:chOff x="8432091" y="2590624"/>
            <a:chExt cx="2615867" cy="1236620"/>
          </a:xfrm>
        </p:grpSpPr>
        <p:sp>
          <p:nvSpPr>
            <p:cNvPr id="39" name="TextBox 38"/>
            <p:cNvSpPr txBox="1"/>
            <p:nvPr/>
          </p:nvSpPr>
          <p:spPr>
            <a:xfrm>
              <a:off x="8432091" y="2590624"/>
              <a:ext cx="2054922" cy="58477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spc="-151">
                  <a:solidFill>
                    <a:schemeClr val="bg1"/>
                  </a:solidFill>
                  <a:latin typeface="Titillium" panose="00000500000000000000" pitchFamily="50" charset="0"/>
                  <a:ea typeface="Roboto" panose="02000000000000000000" pitchFamily="2" charset="0"/>
                  <a:cs typeface="Open Sans Semibold" panose="020B07060308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100" spc="0" dirty="0">
                  <a:latin typeface="Montserrat Regular"/>
                  <a:cs typeface="Montserrat Regular"/>
                </a:rPr>
                <a:t>Our Team</a:t>
              </a:r>
            </a:p>
          </p:txBody>
        </p:sp>
        <p:sp>
          <p:nvSpPr>
            <p:cNvPr id="40" name="TextBox 39"/>
            <p:cNvSpPr txBox="1"/>
            <p:nvPr/>
          </p:nvSpPr>
          <p:spPr>
            <a:xfrm>
              <a:off x="8432091" y="3150136"/>
              <a:ext cx="2615867" cy="677108"/>
            </a:xfrm>
            <a:prstGeom prst="rect">
              <a:avLst/>
            </a:prstGeom>
            <a:noFill/>
          </p:spPr>
          <p:txBody>
            <a:bodyPr wrap="square" rtlCol="0">
              <a:spAutoFit/>
            </a:bodyPr>
            <a:lstStyle/>
            <a:p>
              <a:r>
                <a:rPr lang="id-ID" sz="900" dirty="0">
                  <a:solidFill>
                    <a:schemeClr val="bg1"/>
                  </a:solidFill>
                  <a:latin typeface="Raleway"/>
                  <a:cs typeface="Raleway"/>
                </a:rPr>
                <a:t>Suitable for all category</a:t>
              </a:r>
              <a:r>
                <a:rPr lang="en-US" sz="900" dirty="0">
                  <a:solidFill>
                    <a:schemeClr val="bg1"/>
                  </a:solidFill>
                  <a:latin typeface="Raleway"/>
                  <a:cs typeface="Raleway"/>
                </a:rPr>
                <a:t>, Lorem Ipsum is not simply random text. It has roots in a piece.</a:t>
              </a:r>
              <a:endParaRPr lang="en-US" sz="900" b="1" dirty="0">
                <a:solidFill>
                  <a:schemeClr val="bg1"/>
                </a:solidFill>
                <a:latin typeface="Raleway"/>
                <a:cs typeface="Raleway"/>
              </a:endParaRPr>
            </a:p>
          </p:txBody>
        </p:sp>
      </p:grpSp>
      <p:sp>
        <p:nvSpPr>
          <p:cNvPr id="41" name="Arc 40"/>
          <p:cNvSpPr/>
          <p:nvPr/>
        </p:nvSpPr>
        <p:spPr>
          <a:xfrm flipV="1">
            <a:off x="3327272" y="1359445"/>
            <a:ext cx="2489454" cy="2489454"/>
          </a:xfrm>
          <a:prstGeom prst="arc">
            <a:avLst>
              <a:gd name="adj1" fmla="val 12042590"/>
              <a:gd name="adj2" fmla="val 20458908"/>
            </a:avLst>
          </a:prstGeom>
          <a:ln w="285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algn="ctr"/>
            <a:endParaRPr lang="en-US">
              <a:solidFill>
                <a:srgbClr val="383838"/>
              </a:solidFill>
            </a:endParaRPr>
          </a:p>
        </p:txBody>
      </p:sp>
      <p:pic>
        <p:nvPicPr>
          <p:cNvPr id="25" name="Picture 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flipH="1">
            <a:off x="-1371990" y="2295695"/>
            <a:ext cx="4228594" cy="1180687"/>
          </a:xfrm>
          <a:prstGeom prst="rect">
            <a:avLst/>
          </a:prstGeom>
        </p:spPr>
      </p:pic>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74366" y="1640669"/>
            <a:ext cx="4228594" cy="1180687"/>
          </a:xfrm>
          <a:prstGeom prst="rect">
            <a:avLst/>
          </a:prstGeom>
        </p:spPr>
      </p:pic>
      <p:sp>
        <p:nvSpPr>
          <p:cNvPr id="17" name="Virsraksts 1">
            <a:extLst>
              <a:ext uri="{FF2B5EF4-FFF2-40B4-BE49-F238E27FC236}">
                <a16:creationId xmlns:a16="http://schemas.microsoft.com/office/drawing/2014/main" id="{33FAD884-23D3-4B60-A892-D84BFD037122}"/>
              </a:ext>
            </a:extLst>
          </p:cNvPr>
          <p:cNvSpPr txBox="1">
            <a:spLocks/>
          </p:cNvSpPr>
          <p:nvPr/>
        </p:nvSpPr>
        <p:spPr>
          <a:xfrm>
            <a:off x="1364161" y="370533"/>
            <a:ext cx="6465661" cy="4470825"/>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spcBef>
                <a:spcPts val="1200"/>
              </a:spcBef>
            </a:pPr>
            <a:r>
              <a:rPr lang="lv-LV" sz="1800" dirty="0">
                <a:latin typeface="Oswald" panose="00000500000000000000" pitchFamily="2" charset="-70"/>
                <a:ea typeface="Calibri" panose="020F0502020204030204" pitchFamily="34" charset="0"/>
              </a:rPr>
              <a:t>No 2014. gada līdz 2021. gadam</a:t>
            </a:r>
          </a:p>
          <a:p>
            <a:pPr algn="ctr">
              <a:spcBef>
                <a:spcPts val="1200"/>
              </a:spcBef>
            </a:pPr>
            <a:r>
              <a:rPr lang="lv-LV" sz="1800" dirty="0">
                <a:latin typeface="Oswald" panose="00000500000000000000" pitchFamily="2" charset="-70"/>
                <a:ea typeface="Calibri" panose="020F0502020204030204" pitchFamily="34" charset="0"/>
              </a:rPr>
              <a:t>Rīgas domes Izglītības, kultūras un sporta departaments kā </a:t>
            </a:r>
            <a:r>
              <a:rPr lang="lv-LV" sz="1800" dirty="0">
                <a:solidFill>
                  <a:srgbClr val="FF0000"/>
                </a:solidFill>
                <a:latin typeface="Oswald" panose="00000500000000000000" pitchFamily="2" charset="-70"/>
                <a:ea typeface="Calibri" panose="020F0502020204030204" pitchFamily="34" charset="0"/>
              </a:rPr>
              <a:t>centralizēta</a:t>
            </a:r>
            <a:r>
              <a:rPr lang="lv-LV" sz="1800" dirty="0">
                <a:latin typeface="Oswald" panose="00000500000000000000" pitchFamily="2" charset="-70"/>
                <a:ea typeface="Calibri" panose="020F0502020204030204" pitchFamily="34" charset="0"/>
              </a:rPr>
              <a:t> iepirkumu institūcija </a:t>
            </a:r>
          </a:p>
          <a:p>
            <a:pPr algn="ctr">
              <a:spcBef>
                <a:spcPts val="1200"/>
              </a:spcBef>
            </a:pPr>
            <a:r>
              <a:rPr lang="lv-LV" sz="1800" dirty="0">
                <a:latin typeface="Oswald" panose="00000500000000000000" pitchFamily="2" charset="-70"/>
                <a:ea typeface="Calibri" panose="020F0502020204030204" pitchFamily="34" charset="0"/>
              </a:rPr>
              <a:t>padotībā esošo izglītības iestāžu vajadzībām (96 skolām, 23 pirmsskolām)</a:t>
            </a:r>
          </a:p>
          <a:p>
            <a:pPr algn="ctr">
              <a:spcBef>
                <a:spcPts val="1200"/>
              </a:spcBef>
            </a:pPr>
            <a:r>
              <a:rPr lang="lv-LV" sz="1800" dirty="0">
                <a:latin typeface="Oswald" panose="00000500000000000000" pitchFamily="2" charset="-70"/>
                <a:ea typeface="Calibri" panose="020F0502020204030204" pitchFamily="34" charset="0"/>
              </a:rPr>
              <a:t>veica </a:t>
            </a:r>
            <a:r>
              <a:rPr lang="lv-LV" sz="1800" dirty="0">
                <a:solidFill>
                  <a:srgbClr val="FF0000"/>
                </a:solidFill>
                <a:latin typeface="Oswald" panose="00000500000000000000" pitchFamily="2" charset="-70"/>
                <a:ea typeface="Calibri" panose="020F0502020204030204" pitchFamily="34" charset="0"/>
              </a:rPr>
              <a:t>16</a:t>
            </a:r>
            <a:r>
              <a:rPr lang="lv-LV" sz="1800" dirty="0">
                <a:latin typeface="Oswald" panose="00000500000000000000" pitchFamily="2" charset="-70"/>
                <a:ea typeface="Calibri" panose="020F0502020204030204" pitchFamily="34" charset="0"/>
              </a:rPr>
              <a:t> ēdināšanas pakalpojumu iepirkumus</a:t>
            </a:r>
          </a:p>
          <a:p>
            <a:pPr algn="ctr">
              <a:spcBef>
                <a:spcPts val="1200"/>
              </a:spcBef>
            </a:pPr>
            <a:r>
              <a:rPr lang="lv-LV" sz="1800" dirty="0">
                <a:latin typeface="Oswald" panose="00000500000000000000" pitchFamily="2" charset="-70"/>
              </a:rPr>
              <a:t>viena iepirkuma paredzamā līgumcena vidēji 11 milj. EUR 5 gadiem</a:t>
            </a:r>
          </a:p>
          <a:p>
            <a:pPr algn="ctr">
              <a:spcBef>
                <a:spcPts val="1200"/>
              </a:spcBef>
            </a:pPr>
            <a:r>
              <a:rPr lang="lv-LV" sz="1800" dirty="0">
                <a:solidFill>
                  <a:schemeClr val="tx1"/>
                </a:solidFill>
                <a:latin typeface="Oswald" panose="00000500000000000000" pitchFamily="2" charset="-70"/>
              </a:rPr>
              <a:t>atbilstoši Publisko iepirkumu likuma </a:t>
            </a:r>
            <a:r>
              <a:rPr lang="lv-LV" sz="1800" dirty="0">
                <a:solidFill>
                  <a:srgbClr val="FF0000"/>
                </a:solidFill>
                <a:latin typeface="Oswald" panose="00000500000000000000" pitchFamily="2" charset="-70"/>
              </a:rPr>
              <a:t>10.panta </a:t>
            </a:r>
            <a:r>
              <a:rPr lang="lv-LV" sz="1800" dirty="0">
                <a:latin typeface="Oswald" panose="00000500000000000000" pitchFamily="2" charset="-70"/>
              </a:rPr>
              <a:t>pirmajai daļai 2.pielikuma «</a:t>
            </a:r>
            <a:r>
              <a:rPr lang="it-IT" sz="1800" dirty="0">
                <a:solidFill>
                  <a:srgbClr val="FF0000"/>
                </a:solidFill>
                <a:latin typeface="Oswald" panose="00000500000000000000" pitchFamily="2" charset="-70"/>
              </a:rPr>
              <a:t>Sociālie</a:t>
            </a:r>
            <a:r>
              <a:rPr lang="it-IT" sz="1800" dirty="0">
                <a:latin typeface="Oswald" panose="00000500000000000000" pitchFamily="2" charset="-70"/>
              </a:rPr>
              <a:t> un citi īpaši pakalpojumi</a:t>
            </a:r>
            <a:r>
              <a:rPr lang="lv-LV" sz="1800" dirty="0">
                <a:latin typeface="Oswald" panose="00000500000000000000" pitchFamily="2" charset="-70"/>
              </a:rPr>
              <a:t>», </a:t>
            </a:r>
          </a:p>
          <a:p>
            <a:pPr algn="ctr">
              <a:spcBef>
                <a:spcPts val="1200"/>
              </a:spcBef>
            </a:pPr>
            <a:r>
              <a:rPr lang="lv-LV" sz="1800" dirty="0">
                <a:latin typeface="Oswald" panose="00000500000000000000" pitchFamily="2" charset="-70"/>
              </a:rPr>
              <a:t>piemērojot Ministru kabineta 20.06.2017. noteikumus Nr. 353 «Prasības zaļajam publiskajam iepirkumam un to piemērošanas kārtība» (4.2. </a:t>
            </a:r>
            <a:r>
              <a:rPr lang="lv-LV" sz="1800" dirty="0">
                <a:solidFill>
                  <a:srgbClr val="FF0000"/>
                </a:solidFill>
                <a:latin typeface="Oswald" panose="00000500000000000000" pitchFamily="2" charset="-70"/>
              </a:rPr>
              <a:t>ZPI prasības un kritēriji ēdināšanas pakalpojumiem</a:t>
            </a:r>
            <a:r>
              <a:rPr lang="lv-LV" sz="1800" dirty="0">
                <a:latin typeface="Oswald" panose="00000500000000000000" pitchFamily="2" charset="-70"/>
              </a:rPr>
              <a:t>)</a:t>
            </a:r>
          </a:p>
          <a:p>
            <a:pPr algn="ctr">
              <a:spcBef>
                <a:spcPts val="1200"/>
              </a:spcBef>
            </a:pPr>
            <a:r>
              <a:rPr lang="lv-LV" sz="1800" dirty="0">
                <a:solidFill>
                  <a:srgbClr val="FF0000"/>
                </a:solidFill>
                <a:latin typeface="Oswald" panose="00000500000000000000" pitchFamily="2" charset="-70"/>
              </a:rPr>
              <a:t>18 ēdināšanas uzņēmumi</a:t>
            </a:r>
            <a:r>
              <a:rPr lang="lv-LV" sz="1800" dirty="0">
                <a:latin typeface="Oswald" panose="00000500000000000000" pitchFamily="2" charset="-70"/>
              </a:rPr>
              <a:t>, piedāvājumu skaits ir atkarīgs no iestādes lieluma</a:t>
            </a:r>
          </a:p>
          <a:p>
            <a:pPr algn="ctr"/>
            <a:r>
              <a:rPr lang="lv-LV" sz="2400" dirty="0">
                <a:latin typeface="Oswald" panose="00000500000000000000" pitchFamily="2" charset="-70"/>
                <a:ea typeface="Calibri" panose="020F0502020204030204" pitchFamily="34" charset="0"/>
              </a:rPr>
              <a:t> </a:t>
            </a:r>
            <a:endParaRPr lang="lv-LV" sz="2400" dirty="0">
              <a:latin typeface="Oswald" panose="00000500000000000000" pitchFamily="2" charset="-70"/>
            </a:endParaRPr>
          </a:p>
        </p:txBody>
      </p:sp>
    </p:spTree>
    <p:extLst>
      <p:ext uri="{BB962C8B-B14F-4D97-AF65-F5344CB8AC3E}">
        <p14:creationId xmlns:p14="http://schemas.microsoft.com/office/powerpoint/2010/main" val="167639835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barn(outVertical)">
                                      <p:cBhvr>
                                        <p:cTn id="11" dur="500"/>
                                        <p:tgtEl>
                                          <p:spTgt spid="4"/>
                                        </p:tgtEl>
                                      </p:cBhvr>
                                    </p:animEffect>
                                  </p:childTnLst>
                                </p:cTn>
                              </p:par>
                            </p:childTnLst>
                          </p:cTn>
                        </p:par>
                        <p:par>
                          <p:cTn id="12" fill="hold">
                            <p:stCondLst>
                              <p:cond delay="1000"/>
                            </p:stCondLst>
                            <p:childTnLst>
                              <p:par>
                                <p:cTn id="13" presetID="37"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1000"/>
                                        <p:tgtEl>
                                          <p:spTgt spid="2"/>
                                        </p:tgtEl>
                                      </p:cBhvr>
                                    </p:animEffect>
                                    <p:anim calcmode="lin" valueType="num">
                                      <p:cBhvr>
                                        <p:cTn id="16" dur="1000" fill="hold"/>
                                        <p:tgtEl>
                                          <p:spTgt spid="2"/>
                                        </p:tgtEl>
                                        <p:attrNameLst>
                                          <p:attrName>ppt_x</p:attrName>
                                        </p:attrNameLst>
                                      </p:cBhvr>
                                      <p:tavLst>
                                        <p:tav tm="0">
                                          <p:val>
                                            <p:strVal val="#ppt_x"/>
                                          </p:val>
                                        </p:tav>
                                        <p:tav tm="100000">
                                          <p:val>
                                            <p:strVal val="#ppt_x"/>
                                          </p:val>
                                        </p:tav>
                                      </p:tavLst>
                                    </p:anim>
                                    <p:anim calcmode="lin" valueType="num">
                                      <p:cBhvr>
                                        <p:cTn id="17" dur="900" decel="100000" fill="hold"/>
                                        <p:tgtEl>
                                          <p:spTgt spid="2"/>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2"/>
                                        </p:tgtEl>
                                        <p:attrNameLst>
                                          <p:attrName>ppt_y</p:attrName>
                                        </p:attrNameLst>
                                      </p:cBhvr>
                                      <p:tavLst>
                                        <p:tav tm="0">
                                          <p:val>
                                            <p:strVal val="#ppt_y-.03"/>
                                          </p:val>
                                        </p:tav>
                                        <p:tav tm="100000">
                                          <p:val>
                                            <p:strVal val="#ppt_y"/>
                                          </p:val>
                                        </p:tav>
                                      </p:tavLst>
                                    </p:anim>
                                  </p:childTnLst>
                                </p:cTn>
                              </p:par>
                            </p:childTnLst>
                          </p:cTn>
                        </p:par>
                        <p:par>
                          <p:cTn id="19" fill="hold">
                            <p:stCondLst>
                              <p:cond delay="2000"/>
                            </p:stCondLst>
                            <p:childTnLst>
                              <p:par>
                                <p:cTn id="20" presetID="37"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900" decel="100000" fill="hold"/>
                                        <p:tgtEl>
                                          <p:spTgt spid="3"/>
                                        </p:tgtEl>
                                        <p:attrNameLst>
                                          <p:attrName>ppt_y</p:attrName>
                                        </p:attrNameLst>
                                      </p:cBhvr>
                                      <p:tavLst>
                                        <p:tav tm="0">
                                          <p:val>
                                            <p:strVal val="#ppt_y+1"/>
                                          </p:val>
                                        </p:tav>
                                        <p:tav tm="100000">
                                          <p:val>
                                            <p:strVal val="#ppt_y-.03"/>
                                          </p:val>
                                        </p:tav>
                                      </p:tavLst>
                                    </p:anim>
                                    <p:anim calcmode="lin" valueType="num">
                                      <p:cBhvr>
                                        <p:cTn id="25" dur="100" accel="100000" fill="hold">
                                          <p:stCondLst>
                                            <p:cond delay="900"/>
                                          </p:stCondLst>
                                        </p:cTn>
                                        <p:tgtEl>
                                          <p:spTgt spid="3"/>
                                        </p:tgtEl>
                                        <p:attrNameLst>
                                          <p:attrName>ppt_y</p:attrName>
                                        </p:attrNameLst>
                                      </p:cBhvr>
                                      <p:tavLst>
                                        <p:tav tm="0">
                                          <p:val>
                                            <p:strVal val="#ppt_y-.03"/>
                                          </p:val>
                                        </p:tav>
                                        <p:tav tm="100000">
                                          <p:val>
                                            <p:strVal val="#ppt_y"/>
                                          </p:val>
                                        </p:tav>
                                      </p:tavLst>
                                    </p:anim>
                                  </p:childTnLst>
                                </p:cTn>
                              </p:par>
                            </p:childTnLst>
                          </p:cTn>
                        </p:par>
                        <p:par>
                          <p:cTn id="26" fill="hold">
                            <p:stCondLst>
                              <p:cond delay="3000"/>
                            </p:stCondLst>
                            <p:childTnLst>
                              <p:par>
                                <p:cTn id="27" presetID="16" presetClass="entr" presetSubtype="21" fill="hold" grpId="0" nodeType="after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barn(inVertical)">
                                      <p:cBhvr>
                                        <p:cTn id="29" dur="500"/>
                                        <p:tgtEl>
                                          <p:spTgt spid="41"/>
                                        </p:tgtEl>
                                      </p:cBhvr>
                                    </p:animEffect>
                                  </p:childTnLst>
                                </p:cTn>
                              </p:par>
                            </p:childTnLst>
                          </p:cTn>
                        </p:par>
                        <p:par>
                          <p:cTn id="30" fill="hold">
                            <p:stCondLst>
                              <p:cond delay="3500"/>
                            </p:stCondLst>
                            <p:childTnLst>
                              <p:par>
                                <p:cTn id="31" presetID="22" presetClass="entr" presetSubtype="1" fill="hold"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up)">
                                      <p:cBhvr>
                                        <p:cTn id="3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4" name="Group 53">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223477" y="1768"/>
            <a:ext cx="1407490" cy="1324506"/>
            <a:chOff x="-648769" y="2358"/>
            <a:chExt cx="1876653" cy="1766008"/>
          </a:xfrm>
        </p:grpSpPr>
        <p:sp>
          <p:nvSpPr>
            <p:cNvPr id="55" name="Freeform: Shape 54">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8" name="Rectangle 57">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052897" y="4525250"/>
            <a:ext cx="484026" cy="484026"/>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Isosceles Triangle 59">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7577" y="4290831"/>
            <a:ext cx="1696473" cy="852668"/>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ula 4">
            <a:extLst>
              <a:ext uri="{FF2B5EF4-FFF2-40B4-BE49-F238E27FC236}">
                <a16:creationId xmlns:a16="http://schemas.microsoft.com/office/drawing/2014/main" id="{6AEEB255-A4C5-40AB-B56F-6BFC6BAE4B79}"/>
              </a:ext>
            </a:extLst>
          </p:cNvPr>
          <p:cNvGraphicFramePr>
            <a:graphicFrameLocks noGrp="1"/>
          </p:cNvGraphicFramePr>
          <p:nvPr>
            <p:extLst>
              <p:ext uri="{D42A27DB-BD31-4B8C-83A1-F6EECF244321}">
                <p14:modId xmlns:p14="http://schemas.microsoft.com/office/powerpoint/2010/main" val="3659148544"/>
              </p:ext>
            </p:extLst>
          </p:nvPr>
        </p:nvGraphicFramePr>
        <p:xfrm>
          <a:off x="411717" y="-70157"/>
          <a:ext cx="8178800" cy="4727860"/>
        </p:xfrm>
        <a:graphic>
          <a:graphicData uri="http://schemas.openxmlformats.org/drawingml/2006/table">
            <a:tbl>
              <a:tblPr firstRow="1" bandRow="1">
                <a:noFill/>
                <a:tableStyleId>{8799B23B-EC83-4686-B30A-512413B5E67A}</a:tableStyleId>
              </a:tblPr>
              <a:tblGrid>
                <a:gridCol w="3973224">
                  <a:extLst>
                    <a:ext uri="{9D8B030D-6E8A-4147-A177-3AD203B41FA5}">
                      <a16:colId xmlns:a16="http://schemas.microsoft.com/office/drawing/2014/main" val="987142300"/>
                    </a:ext>
                  </a:extLst>
                </a:gridCol>
                <a:gridCol w="4205576">
                  <a:extLst>
                    <a:ext uri="{9D8B030D-6E8A-4147-A177-3AD203B41FA5}">
                      <a16:colId xmlns:a16="http://schemas.microsoft.com/office/drawing/2014/main" val="1923006988"/>
                    </a:ext>
                  </a:extLst>
                </a:gridCol>
              </a:tblGrid>
              <a:tr h="590805">
                <a:tc>
                  <a:txBody>
                    <a:bodyPr/>
                    <a:lstStyle/>
                    <a:p>
                      <a:r>
                        <a:rPr lang="lv-LV" sz="2000" b="1">
                          <a:solidFill>
                            <a:schemeClr val="tx1">
                              <a:lumMod val="75000"/>
                              <a:lumOff val="25000"/>
                            </a:schemeClr>
                          </a:solidFill>
                          <a:latin typeface="Oswald" panose="00000500000000000000" pitchFamily="2" charset="-70"/>
                        </a:rPr>
                        <a:t>Problēmas</a:t>
                      </a:r>
                    </a:p>
                  </a:txBody>
                  <a:tcPr marL="241145" marR="143792" marT="120572" marB="120572">
                    <a:lnL w="12700" cmpd="sng">
                      <a:noFill/>
                      <a:prstDash val="solid"/>
                    </a:lnL>
                    <a:lnR w="12700" cmpd="sng">
                      <a:noFill/>
                      <a:prstDash val="solid"/>
                    </a:lnR>
                    <a:lnT w="12700" cmpd="sng">
                      <a:noFill/>
                      <a:prstDash val="solid"/>
                    </a:lnT>
                    <a:lnB w="9525" cap="flat" cmpd="sng" algn="ctr">
                      <a:solidFill>
                        <a:srgbClr val="D8DCDC"/>
                      </a:solidFill>
                      <a:prstDash val="solid"/>
                    </a:lnB>
                    <a:noFill/>
                  </a:tcPr>
                </a:tc>
                <a:tc>
                  <a:txBody>
                    <a:bodyPr/>
                    <a:lstStyle/>
                    <a:p>
                      <a:r>
                        <a:rPr lang="lv-LV" sz="2000" b="1">
                          <a:solidFill>
                            <a:schemeClr val="tx1">
                              <a:lumMod val="75000"/>
                              <a:lumOff val="25000"/>
                            </a:schemeClr>
                          </a:solidFill>
                          <a:latin typeface="Oswald" panose="00000500000000000000" pitchFamily="2" charset="-70"/>
                        </a:rPr>
                        <a:t>Risinājumi</a:t>
                      </a:r>
                    </a:p>
                  </a:txBody>
                  <a:tcPr marL="241145" marR="143792" marT="120572" marB="120572">
                    <a:lnL w="12700" cmpd="sng">
                      <a:noFill/>
                      <a:prstDash val="solid"/>
                    </a:lnL>
                    <a:lnR w="12700" cmpd="sng">
                      <a:noFill/>
                      <a:prstDash val="solid"/>
                    </a:lnR>
                    <a:lnT w="12700" cmpd="sng">
                      <a:noFill/>
                      <a:prstDash val="solid"/>
                    </a:lnT>
                    <a:lnB w="9525" cap="flat" cmpd="sng" algn="ctr">
                      <a:solidFill>
                        <a:srgbClr val="D8DCDC"/>
                      </a:solidFill>
                      <a:prstDash val="solid"/>
                    </a:lnB>
                    <a:noFill/>
                  </a:tcPr>
                </a:tc>
                <a:extLst>
                  <a:ext uri="{0D108BD9-81ED-4DB2-BD59-A6C34878D82A}">
                    <a16:rowId xmlns:a16="http://schemas.microsoft.com/office/drawing/2014/main" val="339442911"/>
                  </a:ext>
                </a:extLst>
              </a:tr>
              <a:tr h="892237">
                <a:tc>
                  <a:txBody>
                    <a:bodyPr/>
                    <a:lstStyle/>
                    <a:p>
                      <a:r>
                        <a:rPr lang="lv-LV" sz="2000">
                          <a:solidFill>
                            <a:schemeClr val="tx1">
                              <a:lumMod val="75000"/>
                              <a:lumOff val="25000"/>
                            </a:schemeClr>
                          </a:solidFill>
                          <a:latin typeface="Oswald" panose="00000500000000000000" pitchFamily="2" charset="-70"/>
                        </a:rPr>
                        <a:t>Decentralizēts, administratīvi sadrumstalots un apgrūtinošs process</a:t>
                      </a:r>
                    </a:p>
                  </a:txBody>
                  <a:tcPr marL="241145" marR="143792" marT="120572" marB="120572">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r>
                        <a:rPr lang="lv-LV" sz="2000">
                          <a:solidFill>
                            <a:schemeClr val="tx1">
                              <a:lumMod val="75000"/>
                              <a:lumOff val="25000"/>
                            </a:schemeClr>
                          </a:solidFill>
                          <a:latin typeface="Oswald" panose="00000500000000000000" pitchFamily="2" charset="-70"/>
                        </a:rPr>
                        <a:t>Centralizēts iepirkums vairāku iestāžu vajadzībām ar vairākām daļām</a:t>
                      </a:r>
                    </a:p>
                  </a:txBody>
                  <a:tcPr marL="241145" marR="143792" marT="120572" marB="120572">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1711435345"/>
                  </a:ext>
                </a:extLst>
              </a:tr>
              <a:tr h="892237">
                <a:tc>
                  <a:txBody>
                    <a:bodyPr/>
                    <a:lstStyle/>
                    <a:p>
                      <a:r>
                        <a:rPr lang="lv-LV" sz="2000" dirty="0">
                          <a:solidFill>
                            <a:schemeClr val="tx1">
                              <a:lumMod val="75000"/>
                              <a:lumOff val="25000"/>
                            </a:schemeClr>
                          </a:solidFill>
                          <a:latin typeface="Oswald" panose="00000500000000000000" pitchFamily="2" charset="-70"/>
                        </a:rPr>
                        <a:t>Piegādātājam jāiegulda lieli līdzekļi darbības uzsākšanai</a:t>
                      </a:r>
                    </a:p>
                  </a:txBody>
                  <a:tcPr marL="241145" marR="143792" marT="120572" marB="120572">
                    <a:lnL w="9525" cap="flat" cmpd="sng" algn="ctr">
                      <a:solidFill>
                        <a:srgbClr val="D8DCDC"/>
                      </a:solidFill>
                      <a:prstDash val="solid"/>
                    </a:lnL>
                    <a:lnR w="9525" cap="flat" cmpd="sng" algn="ctr">
                      <a:solidFill>
                        <a:srgbClr val="D8DCDC"/>
                      </a:solidFill>
                      <a:prstDash val="solid"/>
                      <a:round/>
                      <a:headEnd type="none" w="med" len="med"/>
                      <a:tailEnd type="none" w="med" len="med"/>
                    </a:lnR>
                    <a:lnT w="9525" cap="flat" cmpd="sng" algn="ctr">
                      <a:solidFill>
                        <a:srgbClr val="D8DCDC"/>
                      </a:solidFill>
                      <a:prstDash val="solid"/>
                      <a:round/>
                      <a:headEnd type="none" w="med" len="med"/>
                      <a:tailEnd type="none" w="med" len="med"/>
                    </a:lnT>
                    <a:lnB w="9525" cap="flat" cmpd="sng" algn="ctr">
                      <a:solidFill>
                        <a:srgbClr val="D8DCDC"/>
                      </a:solidFill>
                      <a:prstDash val="solid"/>
                      <a:round/>
                      <a:headEnd type="none" w="med" len="med"/>
                      <a:tailEnd type="none" w="med" len="med"/>
                    </a:lnB>
                    <a:solidFill>
                      <a:srgbClr val="D8DEDC">
                        <a:alpha val="20000"/>
                      </a:srgbClr>
                    </a:solidFill>
                  </a:tcPr>
                </a:tc>
                <a:tc>
                  <a:txBody>
                    <a:bodyPr/>
                    <a:lstStyle/>
                    <a:p>
                      <a:r>
                        <a:rPr lang="lv-LV" sz="2000" dirty="0">
                          <a:solidFill>
                            <a:schemeClr val="tx1">
                              <a:lumMod val="75000"/>
                              <a:lumOff val="25000"/>
                            </a:schemeClr>
                          </a:solidFill>
                          <a:latin typeface="Oswald" panose="00000500000000000000" pitchFamily="2" charset="-70"/>
                        </a:rPr>
                        <a:t>Līgumu slēgt uz gadu ar tiesībām to pagarināt līdz pieciem gadiem</a:t>
                      </a:r>
                    </a:p>
                  </a:txBody>
                  <a:tcPr marL="241145" marR="143792" marT="120572" marB="120572">
                    <a:lnL w="9525" cap="flat" cmpd="sng" algn="ctr">
                      <a:solidFill>
                        <a:srgbClr val="D8DCDC"/>
                      </a:solidFill>
                      <a:prstDash val="solid"/>
                      <a:round/>
                      <a:headEnd type="none" w="med" len="med"/>
                      <a:tailEnd type="none" w="med" len="med"/>
                    </a:lnL>
                    <a:lnR w="9525" cap="flat" cmpd="sng" algn="ctr">
                      <a:solidFill>
                        <a:srgbClr val="D8DCDC"/>
                      </a:solidFill>
                      <a:prstDash val="solid"/>
                    </a:lnR>
                    <a:lnT w="9525" cap="flat" cmpd="sng" algn="ctr">
                      <a:solidFill>
                        <a:srgbClr val="D8DCDC"/>
                      </a:solidFill>
                      <a:prstDash val="solid"/>
                      <a:round/>
                      <a:headEnd type="none" w="med" len="med"/>
                      <a:tailEnd type="none" w="med" len="med"/>
                    </a:lnT>
                    <a:lnB w="9525" cap="flat" cmpd="sng" algn="ctr">
                      <a:solidFill>
                        <a:srgbClr val="D8DCDC"/>
                      </a:solidFill>
                      <a:prstDash val="solid"/>
                      <a:round/>
                      <a:headEnd type="none" w="med" len="med"/>
                      <a:tailEnd type="none" w="med" len="med"/>
                    </a:lnB>
                    <a:solidFill>
                      <a:srgbClr val="D8DEDC">
                        <a:alpha val="20000"/>
                      </a:srgbClr>
                    </a:solidFill>
                  </a:tcPr>
                </a:tc>
                <a:extLst>
                  <a:ext uri="{0D108BD9-81ED-4DB2-BD59-A6C34878D82A}">
                    <a16:rowId xmlns:a16="http://schemas.microsoft.com/office/drawing/2014/main" val="1458474720"/>
                  </a:ext>
                </a:extLst>
              </a:tr>
              <a:tr h="892237">
                <a:tc>
                  <a:txBody>
                    <a:bodyPr/>
                    <a:lstStyle/>
                    <a:p>
                      <a:r>
                        <a:rPr lang="lv-LV" sz="2000" kern="1200" dirty="0">
                          <a:solidFill>
                            <a:schemeClr val="tx1">
                              <a:lumMod val="75000"/>
                              <a:lumOff val="25000"/>
                            </a:schemeClr>
                          </a:solidFill>
                          <a:latin typeface="Oswald" panose="00000500000000000000" pitchFamily="2" charset="-70"/>
                          <a:ea typeface="+mn-ea"/>
                          <a:cs typeface="+mn-cs"/>
                        </a:rPr>
                        <a:t>Viena vai vairāku tirgus dalībnieku dominējošs stāvoklis</a:t>
                      </a:r>
                    </a:p>
                  </a:txBody>
                  <a:tcPr marL="241145" marR="143792" marT="120572" marB="120572">
                    <a:lnL w="9525" cap="flat" cmpd="sng" algn="ctr">
                      <a:solidFill>
                        <a:srgbClr val="D8DCDC"/>
                      </a:solidFill>
                      <a:prstDash val="solid"/>
                    </a:lnL>
                    <a:lnR w="9525" cap="flat" cmpd="sng" algn="ctr">
                      <a:solidFill>
                        <a:srgbClr val="D8DC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round/>
                      <a:headEnd type="none" w="med" len="med"/>
                      <a:tailEnd type="none" w="med" len="med"/>
                    </a:lnB>
                    <a:solidFill>
                      <a:srgbClr val="D8DEDC">
                        <a:alpha val="20000"/>
                      </a:srgbClr>
                    </a:solidFill>
                  </a:tcPr>
                </a:tc>
                <a:tc>
                  <a:txBody>
                    <a:bodyPr/>
                    <a:lstStyle/>
                    <a:p>
                      <a:r>
                        <a:rPr lang="lv-LV" sz="2000" kern="1200" dirty="0">
                          <a:solidFill>
                            <a:schemeClr val="tx1">
                              <a:lumMod val="75000"/>
                              <a:lumOff val="25000"/>
                            </a:schemeClr>
                          </a:solidFill>
                          <a:latin typeface="Oswald" panose="00000500000000000000" pitchFamily="2" charset="-70"/>
                          <a:ea typeface="+mn-ea"/>
                          <a:cs typeface="+mn-cs"/>
                        </a:rPr>
                        <a:t>Noteikt maksimālo daļu skaitu, kurās var iesniegt piedāvājumu viens piegādātājs</a:t>
                      </a:r>
                    </a:p>
                  </a:txBody>
                  <a:tcPr marL="241145" marR="143792" marT="120572" marB="120572">
                    <a:lnL w="9525" cap="flat" cmpd="sng" algn="ctr">
                      <a:solidFill>
                        <a:srgbClr val="D8DCDC"/>
                      </a:solidFill>
                      <a:prstDash val="solid"/>
                      <a:round/>
                      <a:headEnd type="none" w="med" len="med"/>
                      <a:tailEnd type="none" w="med" len="me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round/>
                      <a:headEnd type="none" w="med" len="med"/>
                      <a:tailEnd type="none" w="med" len="med"/>
                    </a:lnB>
                    <a:solidFill>
                      <a:srgbClr val="D8DEDC">
                        <a:alpha val="20000"/>
                      </a:srgbClr>
                    </a:solidFill>
                  </a:tcPr>
                </a:tc>
                <a:extLst>
                  <a:ext uri="{0D108BD9-81ED-4DB2-BD59-A6C34878D82A}">
                    <a16:rowId xmlns:a16="http://schemas.microsoft.com/office/drawing/2014/main" val="3557644260"/>
                  </a:ext>
                </a:extLst>
              </a:tr>
              <a:tr h="89223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Netiek iesniegti piedāvājumi iestādei, kurā ir neliels audzēkņu skaits</a:t>
                      </a:r>
                    </a:p>
                    <a:p>
                      <a:endParaRPr lang="lv-LV" sz="2000" kern="1200" dirty="0">
                        <a:solidFill>
                          <a:schemeClr val="tx1">
                            <a:lumMod val="75000"/>
                            <a:lumOff val="25000"/>
                          </a:schemeClr>
                        </a:solidFill>
                        <a:latin typeface="Oswald" panose="00000500000000000000" pitchFamily="2" charset="-70"/>
                        <a:ea typeface="+mn-ea"/>
                        <a:cs typeface="+mn-cs"/>
                      </a:endParaRPr>
                    </a:p>
                  </a:txBody>
                  <a:tcPr marL="241145" marR="143792" marT="120572" marB="120572">
                    <a:lnL w="9525" cap="flat" cmpd="sng" algn="ctr">
                      <a:solidFill>
                        <a:srgbClr val="D8DCDC"/>
                      </a:solidFill>
                      <a:prstDash val="solid"/>
                    </a:lnL>
                    <a:lnR w="9525" cap="flat" cmpd="sng" algn="ctr">
                      <a:solidFill>
                        <a:srgbClr val="D8DC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Vienā daļā apvienojot iestādi, par kuru ir liela interese, ar iestādi, kurā ir risks, ka piedāvājumi netiks saņemti</a:t>
                      </a:r>
                    </a:p>
                    <a:p>
                      <a:endParaRPr lang="lv-LV" sz="2000" kern="1200" dirty="0">
                        <a:solidFill>
                          <a:schemeClr val="tx1">
                            <a:lumMod val="75000"/>
                            <a:lumOff val="25000"/>
                          </a:schemeClr>
                        </a:solidFill>
                        <a:latin typeface="Oswald" panose="00000500000000000000" pitchFamily="2" charset="-70"/>
                        <a:ea typeface="+mn-ea"/>
                        <a:cs typeface="+mn-cs"/>
                      </a:endParaRPr>
                    </a:p>
                  </a:txBody>
                  <a:tcPr marL="241145" marR="143792" marT="120572" marB="120572">
                    <a:lnL w="9525" cap="flat" cmpd="sng" algn="ctr">
                      <a:solidFill>
                        <a:srgbClr val="D8DCDC"/>
                      </a:solidFill>
                      <a:prstDash val="solid"/>
                      <a:round/>
                      <a:headEnd type="none" w="med" len="med"/>
                      <a:tailEnd type="none" w="med" len="me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1408641894"/>
                  </a:ext>
                </a:extLst>
              </a:tr>
            </a:tbl>
          </a:graphicData>
        </a:graphic>
      </p:graphicFrame>
    </p:spTree>
    <p:extLst>
      <p:ext uri="{BB962C8B-B14F-4D97-AF65-F5344CB8AC3E}">
        <p14:creationId xmlns:p14="http://schemas.microsoft.com/office/powerpoint/2010/main" val="1345259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4" name="Group 53">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223477" y="1768"/>
            <a:ext cx="1407490" cy="1324506"/>
            <a:chOff x="-648769" y="2358"/>
            <a:chExt cx="1876653" cy="1766008"/>
          </a:xfrm>
        </p:grpSpPr>
        <p:sp>
          <p:nvSpPr>
            <p:cNvPr id="55" name="Freeform: Shape 54">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8" name="Rectangle 57">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052897" y="4525250"/>
            <a:ext cx="484026" cy="484026"/>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Isosceles Triangle 59">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7577" y="4290831"/>
            <a:ext cx="1696473" cy="852668"/>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ula 4">
            <a:extLst>
              <a:ext uri="{FF2B5EF4-FFF2-40B4-BE49-F238E27FC236}">
                <a16:creationId xmlns:a16="http://schemas.microsoft.com/office/drawing/2014/main" id="{6AEEB255-A4C5-40AB-B56F-6BFC6BAE4B79}"/>
              </a:ext>
            </a:extLst>
          </p:cNvPr>
          <p:cNvGraphicFramePr>
            <a:graphicFrameLocks noGrp="1"/>
          </p:cNvGraphicFramePr>
          <p:nvPr>
            <p:extLst>
              <p:ext uri="{D42A27DB-BD31-4B8C-83A1-F6EECF244321}">
                <p14:modId xmlns:p14="http://schemas.microsoft.com/office/powerpoint/2010/main" val="4235648774"/>
              </p:ext>
            </p:extLst>
          </p:nvPr>
        </p:nvGraphicFramePr>
        <p:xfrm>
          <a:off x="411717" y="-70158"/>
          <a:ext cx="8178800" cy="5796710"/>
        </p:xfrm>
        <a:graphic>
          <a:graphicData uri="http://schemas.openxmlformats.org/drawingml/2006/table">
            <a:tbl>
              <a:tblPr firstRow="1" bandRow="1">
                <a:noFill/>
                <a:tableStyleId>{8799B23B-EC83-4686-B30A-512413B5E67A}</a:tableStyleId>
              </a:tblPr>
              <a:tblGrid>
                <a:gridCol w="3635743">
                  <a:extLst>
                    <a:ext uri="{9D8B030D-6E8A-4147-A177-3AD203B41FA5}">
                      <a16:colId xmlns:a16="http://schemas.microsoft.com/office/drawing/2014/main" val="987142300"/>
                    </a:ext>
                  </a:extLst>
                </a:gridCol>
                <a:gridCol w="4543057">
                  <a:extLst>
                    <a:ext uri="{9D8B030D-6E8A-4147-A177-3AD203B41FA5}">
                      <a16:colId xmlns:a16="http://schemas.microsoft.com/office/drawing/2014/main" val="1923006988"/>
                    </a:ext>
                  </a:extLst>
                </a:gridCol>
              </a:tblGrid>
              <a:tr h="535676">
                <a:tc>
                  <a:txBody>
                    <a:bodyPr/>
                    <a:lstStyle/>
                    <a:p>
                      <a:r>
                        <a:rPr lang="lv-LV" sz="2000" b="1" dirty="0">
                          <a:solidFill>
                            <a:schemeClr val="tx1">
                              <a:lumMod val="75000"/>
                              <a:lumOff val="25000"/>
                            </a:schemeClr>
                          </a:solidFill>
                          <a:latin typeface="Oswald" panose="00000500000000000000" pitchFamily="2" charset="-70"/>
                        </a:rPr>
                        <a:t>Problēmas</a:t>
                      </a:r>
                    </a:p>
                  </a:txBody>
                  <a:tcPr marL="241145" marR="143792" marT="120572" marB="120572">
                    <a:lnL w="12700" cmpd="sng">
                      <a:noFill/>
                      <a:prstDash val="solid"/>
                    </a:lnL>
                    <a:lnR w="12700" cmpd="sng">
                      <a:noFill/>
                      <a:prstDash val="solid"/>
                    </a:lnR>
                    <a:lnT w="12700" cmpd="sng">
                      <a:noFill/>
                      <a:prstDash val="solid"/>
                    </a:lnT>
                    <a:lnB w="9525" cap="flat" cmpd="sng" algn="ctr">
                      <a:solidFill>
                        <a:srgbClr val="D8DCDC"/>
                      </a:solidFill>
                      <a:prstDash val="solid"/>
                    </a:lnB>
                    <a:noFill/>
                  </a:tcPr>
                </a:tc>
                <a:tc>
                  <a:txBody>
                    <a:bodyPr/>
                    <a:lstStyle/>
                    <a:p>
                      <a:r>
                        <a:rPr lang="lv-LV" sz="2000" b="1">
                          <a:solidFill>
                            <a:schemeClr val="tx1">
                              <a:lumMod val="75000"/>
                              <a:lumOff val="25000"/>
                            </a:schemeClr>
                          </a:solidFill>
                          <a:latin typeface="Oswald" panose="00000500000000000000" pitchFamily="2" charset="-70"/>
                        </a:rPr>
                        <a:t>Risinājumi</a:t>
                      </a:r>
                    </a:p>
                  </a:txBody>
                  <a:tcPr marL="241145" marR="143792" marT="120572" marB="120572">
                    <a:lnL w="12700" cmpd="sng">
                      <a:noFill/>
                      <a:prstDash val="solid"/>
                    </a:lnL>
                    <a:lnR w="12700" cmpd="sng">
                      <a:noFill/>
                      <a:prstDash val="solid"/>
                    </a:lnR>
                    <a:lnT w="12700" cmpd="sng">
                      <a:noFill/>
                      <a:prstDash val="solid"/>
                    </a:lnT>
                    <a:lnB w="9525" cap="flat" cmpd="sng" algn="ctr">
                      <a:solidFill>
                        <a:srgbClr val="D8DCDC"/>
                      </a:solidFill>
                      <a:prstDash val="solid"/>
                    </a:lnB>
                    <a:noFill/>
                  </a:tcPr>
                </a:tc>
                <a:extLst>
                  <a:ext uri="{0D108BD9-81ED-4DB2-BD59-A6C34878D82A}">
                    <a16:rowId xmlns:a16="http://schemas.microsoft.com/office/drawing/2014/main" val="339442911"/>
                  </a:ext>
                </a:extLst>
              </a:tr>
              <a:tr h="83474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Nav godīga konkurence ar komersantiem, kas nemaksā nodokļus, līguma izpildītie speciālisti netiek pienācīgi atalgoti, tādēļ risks līguma izpildes kvalitātei un nepārtrauktībai</a:t>
                      </a:r>
                    </a:p>
                  </a:txBody>
                  <a:tcPr marL="241145" marR="143792" marT="120572" marB="120572">
                    <a:lnL w="9525" cap="flat" cmpd="sng" algn="ctr">
                      <a:solidFill>
                        <a:srgbClr val="D8DEDC"/>
                      </a:solidFill>
                      <a:prstDash val="solid"/>
                    </a:lnL>
                    <a:lnR w="9525" cap="flat" cmpd="sng" algn="ctr">
                      <a:solidFill>
                        <a:srgbClr val="D8DEDC"/>
                      </a:solidFill>
                      <a:prstDash val="solid"/>
                      <a:round/>
                      <a:headEnd type="none" w="med" len="med"/>
                      <a:tailEnd type="none" w="med" len="med"/>
                    </a:lnR>
                    <a:lnT w="9525" cap="flat" cmpd="sng" algn="ctr">
                      <a:solidFill>
                        <a:srgbClr val="D8DCDC"/>
                      </a:solidFill>
                      <a:prstDash val="solid"/>
                      <a:round/>
                      <a:headEnd type="none" w="med" len="med"/>
                      <a:tailEnd type="none" w="med" len="med"/>
                    </a:lnT>
                    <a:lnB w="9525" cap="flat" cmpd="sng" algn="ctr">
                      <a:solidFill>
                        <a:srgbClr val="D8DCDC"/>
                      </a:solidFill>
                      <a:prstDash val="solid"/>
                      <a:round/>
                      <a:headEnd type="none" w="med" len="med"/>
                      <a:tailEnd type="none" w="med" len="med"/>
                    </a:lnB>
                    <a:noFill/>
                  </a:tcPr>
                </a:tc>
                <a:tc>
                  <a:txBody>
                    <a:bodyPr/>
                    <a:lstStyle/>
                    <a:p>
                      <a:r>
                        <a:rPr lang="lv-LV" sz="2000" dirty="0">
                          <a:solidFill>
                            <a:schemeClr val="tx1">
                              <a:lumMod val="75000"/>
                              <a:lumOff val="25000"/>
                            </a:schemeClr>
                          </a:solidFill>
                          <a:latin typeface="Oswald" panose="00000500000000000000" pitchFamily="2" charset="-70"/>
                        </a:rPr>
                        <a:t>Atlasē vērtēt finanšu rādītājus gada pārskatos (pozitīvs pašu kapitāls, likviditāte, finanšu apgrozījums).</a:t>
                      </a:r>
                    </a:p>
                    <a:p>
                      <a:pPr marL="0" marR="0" lvl="0" indent="0" algn="l" defTabSz="685800" rtl="0" eaLnBrk="1" fontAlgn="auto" latinLnBrk="0" hangingPunct="1">
                        <a:lnSpc>
                          <a:spcPct val="100000"/>
                        </a:lnSpc>
                        <a:spcBef>
                          <a:spcPts val="0"/>
                        </a:spcBef>
                        <a:spcAft>
                          <a:spcPts val="0"/>
                        </a:spcAft>
                        <a:buClrTx/>
                        <a:buSzTx/>
                        <a:buFontTx/>
                        <a:buNone/>
                        <a:tabLst/>
                        <a:defRPr/>
                      </a:pPr>
                      <a:r>
                        <a:rPr lang="lv-LV" sz="2000" kern="1200" dirty="0">
                          <a:solidFill>
                            <a:schemeClr val="tx1">
                              <a:lumMod val="75000"/>
                              <a:lumOff val="25000"/>
                            </a:schemeClr>
                          </a:solidFill>
                          <a:latin typeface="Oswald" panose="00000500000000000000" pitchFamily="2" charset="-70"/>
                          <a:ea typeface="+mn-ea"/>
                          <a:cs typeface="+mn-cs"/>
                        </a:rPr>
                        <a:t>Sociālais kritērijs (iepriekšējos trīs gados samaksāto VSAOI pret vidējo nodarbināto skaitu) balstoties uz VID datiem.</a:t>
                      </a:r>
                    </a:p>
                  </a:txBody>
                  <a:tcPr marL="241145" marR="143792" marT="120572" marB="120572">
                    <a:lnL w="9525" cap="flat" cmpd="sng" algn="ctr">
                      <a:solidFill>
                        <a:srgbClr val="D8DEDC"/>
                      </a:solidFill>
                      <a:prstDash val="solid"/>
                      <a:round/>
                      <a:headEnd type="none" w="med" len="med"/>
                      <a:tailEnd type="none" w="med" len="med"/>
                    </a:lnL>
                    <a:lnR w="9525" cap="flat" cmpd="sng" algn="ctr">
                      <a:solidFill>
                        <a:srgbClr val="D8DEDC"/>
                      </a:solidFill>
                      <a:prstDash val="solid"/>
                    </a:lnR>
                    <a:lnT w="9525" cap="flat" cmpd="sng" algn="ctr">
                      <a:solidFill>
                        <a:srgbClr val="D8DCDC"/>
                      </a:solidFill>
                      <a:prstDash val="solid"/>
                      <a:round/>
                      <a:headEnd type="none" w="med" len="med"/>
                      <a:tailEnd type="none" w="med" len="med"/>
                    </a:lnT>
                    <a:lnB w="9525" cap="flat" cmpd="sng" algn="ctr">
                      <a:solidFill>
                        <a:srgbClr val="D8DCDC"/>
                      </a:solidFill>
                      <a:prstDash val="solid"/>
                      <a:round/>
                      <a:headEnd type="none" w="med" len="med"/>
                      <a:tailEnd type="none" w="med" len="med"/>
                    </a:lnB>
                    <a:noFill/>
                  </a:tcPr>
                </a:tc>
                <a:extLst>
                  <a:ext uri="{0D108BD9-81ED-4DB2-BD59-A6C34878D82A}">
                    <a16:rowId xmlns:a16="http://schemas.microsoft.com/office/drawing/2014/main" val="4137096495"/>
                  </a:ext>
                </a:extLst>
              </a:tr>
              <a:tr h="77871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Grūti pierādīt nepamatoti lētu piedāvājumu</a:t>
                      </a:r>
                    </a:p>
                  </a:txBody>
                  <a:tcPr marL="241145" marR="143792" marT="120572" marB="120572">
                    <a:lnL w="9525" cap="flat" cmpd="sng" algn="ctr">
                      <a:solidFill>
                        <a:srgbClr val="D8DEDC"/>
                      </a:solidFill>
                      <a:prstDash val="solid"/>
                    </a:lnL>
                    <a:lnR w="9525" cap="flat" cmpd="sng" algn="ctr">
                      <a:solidFill>
                        <a:srgbClr val="D8DE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round/>
                      <a:headEnd type="none" w="med" len="med"/>
                      <a:tailEnd type="none" w="med" len="med"/>
                    </a:lnB>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Noteikt piedāvātās cenas min./</a:t>
                      </a:r>
                      <a:r>
                        <a:rPr lang="lv-LV" sz="2000" dirty="0" err="1">
                          <a:solidFill>
                            <a:schemeClr val="tx1">
                              <a:lumMod val="75000"/>
                              <a:lumOff val="25000"/>
                            </a:schemeClr>
                          </a:solidFill>
                          <a:latin typeface="Oswald" panose="00000500000000000000" pitchFamily="2" charset="-70"/>
                        </a:rPr>
                        <a:t>max</a:t>
                      </a:r>
                      <a:r>
                        <a:rPr lang="lv-LV" sz="2000" dirty="0">
                          <a:solidFill>
                            <a:schemeClr val="tx1">
                              <a:lumMod val="75000"/>
                              <a:lumOff val="25000"/>
                            </a:schemeClr>
                          </a:solidFill>
                          <a:latin typeface="Oswald" panose="00000500000000000000" pitchFamily="2" charset="-70"/>
                        </a:rPr>
                        <a:t>.</a:t>
                      </a:r>
                    </a:p>
                    <a:p>
                      <a:endParaRPr lang="lv-LV" sz="2000" dirty="0">
                        <a:solidFill>
                          <a:schemeClr val="tx1">
                            <a:lumMod val="75000"/>
                            <a:lumOff val="25000"/>
                          </a:schemeClr>
                        </a:solidFill>
                        <a:latin typeface="Oswald" panose="00000500000000000000" pitchFamily="2" charset="-70"/>
                      </a:endParaRPr>
                    </a:p>
                  </a:txBody>
                  <a:tcPr marL="241145" marR="143792" marT="120572" marB="120572">
                    <a:lnL w="9525" cap="flat" cmpd="sng" algn="ctr">
                      <a:solidFill>
                        <a:srgbClr val="D8DEDC"/>
                      </a:solidFill>
                      <a:prstDash val="solid"/>
                      <a:round/>
                      <a:headEnd type="none" w="med" len="med"/>
                      <a:tailEnd type="none" w="med" len="me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round/>
                      <a:headEnd type="none" w="med" len="med"/>
                      <a:tailEnd type="none" w="med" len="med"/>
                    </a:lnB>
                    <a:noFill/>
                  </a:tcPr>
                </a:tc>
                <a:extLst>
                  <a:ext uri="{0D108BD9-81ED-4DB2-BD59-A6C34878D82A}">
                    <a16:rowId xmlns:a16="http://schemas.microsoft.com/office/drawing/2014/main" val="4122017707"/>
                  </a:ext>
                </a:extLst>
              </a:tr>
              <a:tr h="2330078">
                <a:tc>
                  <a:txBody>
                    <a:bodyPr/>
                    <a:lstStyle/>
                    <a:p>
                      <a:r>
                        <a:rPr lang="lv-LV" sz="2000" dirty="0">
                          <a:solidFill>
                            <a:schemeClr val="tx1">
                              <a:lumMod val="75000"/>
                              <a:lumOff val="25000"/>
                            </a:schemeClr>
                          </a:solidFill>
                          <a:latin typeface="Oswald" panose="00000500000000000000" pitchFamily="2" charset="-70"/>
                        </a:rPr>
                        <a:t>Ēdināšanas maksa (1,42 EUR), kas izriet no valsts mērķdotācijas apmēra, nav liela, ja to piedāvā vēl zemāku, ir risks, ka ēdināšana nebūs kvalitatīva</a:t>
                      </a:r>
                    </a:p>
                  </a:txBody>
                  <a:tcPr marL="241145" marR="143792" marT="120572" marB="120572">
                    <a:lnL w="9525" cap="flat" cmpd="sng" algn="ctr">
                      <a:solidFill>
                        <a:srgbClr val="D8DEDC"/>
                      </a:solidFill>
                      <a:prstDash val="solid"/>
                    </a:lnL>
                    <a:lnR w="9525" cap="flat" cmpd="sng" algn="ctr">
                      <a:solidFill>
                        <a:srgbClr val="D8DEDC"/>
                      </a:solidFill>
                      <a:prstDash val="solid"/>
                      <a:round/>
                      <a:headEnd type="none" w="med" len="med"/>
                      <a:tailEnd type="none" w="med" len="med"/>
                    </a:lnR>
                    <a:lnT w="9525" cap="flat" cmpd="sng" algn="ctr">
                      <a:solidFill>
                        <a:srgbClr val="D8DCDC"/>
                      </a:solidFill>
                      <a:prstDash val="solid"/>
                    </a:lnT>
                    <a:lnB w="9525" cap="flat" cmpd="sng" algn="ctr">
                      <a:solidFill>
                        <a:srgbClr val="D8DCDC"/>
                      </a:solidFill>
                      <a:prstDash val="solid"/>
                    </a:lnB>
                    <a:noFill/>
                  </a:tcPr>
                </a:tc>
                <a:tc>
                  <a:txBody>
                    <a:bodyPr/>
                    <a:lstStyle/>
                    <a:p>
                      <a:r>
                        <a:rPr lang="lv-LV" sz="2000" dirty="0">
                          <a:solidFill>
                            <a:schemeClr val="tx1">
                              <a:lumMod val="75000"/>
                              <a:lumOff val="25000"/>
                            </a:schemeClr>
                          </a:solidFill>
                          <a:latin typeface="Oswald" panose="00000500000000000000" pitchFamily="2" charset="-70"/>
                        </a:rPr>
                        <a:t>Piešķirt cenas kritērijam mazāku īpatsvaru.</a:t>
                      </a:r>
                    </a:p>
                    <a:p>
                      <a:r>
                        <a:rPr lang="lv-LV" sz="2000" dirty="0">
                          <a:solidFill>
                            <a:schemeClr val="tx1">
                              <a:lumMod val="75000"/>
                              <a:lumOff val="25000"/>
                            </a:schemeClr>
                          </a:solidFill>
                          <a:latin typeface="Oswald" panose="00000500000000000000" pitchFamily="2" charset="-70"/>
                        </a:rPr>
                        <a:t>ZPI not. nosaka: cena ne vairāk kā 50%, ZPI kritērijam ne mazāk kā 35%.</a:t>
                      </a:r>
                    </a:p>
                    <a:p>
                      <a:r>
                        <a:rPr lang="lv-LV" sz="2000" dirty="0">
                          <a:solidFill>
                            <a:schemeClr val="tx1">
                              <a:lumMod val="75000"/>
                              <a:lumOff val="25000"/>
                            </a:schemeClr>
                          </a:solidFill>
                          <a:latin typeface="Oswald" panose="00000500000000000000" pitchFamily="2" charset="-70"/>
                        </a:rPr>
                        <a:t>IKSD iepirkumos: ZPI 70 p., 20 p. sociālais kritērijs (VSAOI), cena 10 p.</a:t>
                      </a:r>
                    </a:p>
                  </a:txBody>
                  <a:tcPr marL="241145" marR="143792" marT="120572" marB="120572">
                    <a:lnL w="9525" cap="flat" cmpd="sng" algn="ctr">
                      <a:solidFill>
                        <a:srgbClr val="D8DEDC"/>
                      </a:solidFill>
                      <a:prstDash val="solid"/>
                      <a:round/>
                      <a:headEnd type="none" w="med" len="med"/>
                      <a:tailEnd type="none" w="med" len="med"/>
                    </a:lnL>
                    <a:lnR w="9525" cap="flat" cmpd="sng" algn="ctr">
                      <a:solidFill>
                        <a:srgbClr val="D8DEDC"/>
                      </a:solidFill>
                      <a:prstDash val="solid"/>
                    </a:lnR>
                    <a:lnT w="9525" cap="flat" cmpd="sng" algn="ctr">
                      <a:solidFill>
                        <a:srgbClr val="D8DCDC"/>
                      </a:solidFill>
                      <a:prstDash val="solid"/>
                    </a:lnT>
                    <a:lnB w="9525" cap="flat" cmpd="sng" algn="ctr">
                      <a:solidFill>
                        <a:srgbClr val="D8DCDC"/>
                      </a:solidFill>
                      <a:prstDash val="solid"/>
                    </a:lnB>
                    <a:noFill/>
                  </a:tcPr>
                </a:tc>
                <a:extLst>
                  <a:ext uri="{0D108BD9-81ED-4DB2-BD59-A6C34878D82A}">
                    <a16:rowId xmlns:a16="http://schemas.microsoft.com/office/drawing/2014/main" val="825655084"/>
                  </a:ext>
                </a:extLst>
              </a:tr>
            </a:tbl>
          </a:graphicData>
        </a:graphic>
      </p:graphicFrame>
    </p:spTree>
    <p:extLst>
      <p:ext uri="{BB962C8B-B14F-4D97-AF65-F5344CB8AC3E}">
        <p14:creationId xmlns:p14="http://schemas.microsoft.com/office/powerpoint/2010/main" val="441725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4" name="Group 53">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223477" y="1768"/>
            <a:ext cx="1407490" cy="1324506"/>
            <a:chOff x="-648769" y="2358"/>
            <a:chExt cx="1876653" cy="1766008"/>
          </a:xfrm>
        </p:grpSpPr>
        <p:sp>
          <p:nvSpPr>
            <p:cNvPr id="55" name="Freeform: Shape 54">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8" name="Rectangle 57">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052897" y="4525250"/>
            <a:ext cx="484026" cy="484026"/>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Isosceles Triangle 59">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7577" y="4290831"/>
            <a:ext cx="1696473" cy="852668"/>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ula 4">
            <a:extLst>
              <a:ext uri="{FF2B5EF4-FFF2-40B4-BE49-F238E27FC236}">
                <a16:creationId xmlns:a16="http://schemas.microsoft.com/office/drawing/2014/main" id="{6AEEB255-A4C5-40AB-B56F-6BFC6BAE4B79}"/>
              </a:ext>
            </a:extLst>
          </p:cNvPr>
          <p:cNvGraphicFramePr>
            <a:graphicFrameLocks noGrp="1"/>
          </p:cNvGraphicFramePr>
          <p:nvPr>
            <p:extLst>
              <p:ext uri="{D42A27DB-BD31-4B8C-83A1-F6EECF244321}">
                <p14:modId xmlns:p14="http://schemas.microsoft.com/office/powerpoint/2010/main" val="4210937672"/>
              </p:ext>
            </p:extLst>
          </p:nvPr>
        </p:nvGraphicFramePr>
        <p:xfrm>
          <a:off x="411717" y="-70157"/>
          <a:ext cx="8178800" cy="5472920"/>
        </p:xfrm>
        <a:graphic>
          <a:graphicData uri="http://schemas.openxmlformats.org/drawingml/2006/table">
            <a:tbl>
              <a:tblPr firstRow="1" bandRow="1">
                <a:noFill/>
                <a:tableStyleId>{8799B23B-EC83-4686-B30A-512413B5E67A}</a:tableStyleId>
              </a:tblPr>
              <a:tblGrid>
                <a:gridCol w="3973224">
                  <a:extLst>
                    <a:ext uri="{9D8B030D-6E8A-4147-A177-3AD203B41FA5}">
                      <a16:colId xmlns:a16="http://schemas.microsoft.com/office/drawing/2014/main" val="987142300"/>
                    </a:ext>
                  </a:extLst>
                </a:gridCol>
                <a:gridCol w="4205576">
                  <a:extLst>
                    <a:ext uri="{9D8B030D-6E8A-4147-A177-3AD203B41FA5}">
                      <a16:colId xmlns:a16="http://schemas.microsoft.com/office/drawing/2014/main" val="1923006988"/>
                    </a:ext>
                  </a:extLst>
                </a:gridCol>
              </a:tblGrid>
              <a:tr h="474194">
                <a:tc>
                  <a:txBody>
                    <a:bodyPr/>
                    <a:lstStyle/>
                    <a:p>
                      <a:r>
                        <a:rPr lang="lv-LV" sz="2000" b="1" dirty="0">
                          <a:solidFill>
                            <a:schemeClr val="tx1">
                              <a:lumMod val="75000"/>
                              <a:lumOff val="25000"/>
                            </a:schemeClr>
                          </a:solidFill>
                          <a:latin typeface="Oswald" panose="00000500000000000000" pitchFamily="2" charset="-70"/>
                        </a:rPr>
                        <a:t>Problēmas</a:t>
                      </a:r>
                    </a:p>
                  </a:txBody>
                  <a:tcPr marL="241145" marR="143792" marT="120572" marB="120572">
                    <a:lnL w="12700" cmpd="sng">
                      <a:noFill/>
                      <a:prstDash val="solid"/>
                    </a:lnL>
                    <a:lnR w="12700" cmpd="sng">
                      <a:noFill/>
                      <a:prstDash val="solid"/>
                    </a:lnR>
                    <a:lnT w="12700" cmpd="sng">
                      <a:noFill/>
                      <a:prstDash val="solid"/>
                    </a:lnT>
                    <a:lnB w="9525" cap="flat" cmpd="sng" algn="ctr">
                      <a:solidFill>
                        <a:srgbClr val="D8DCDC"/>
                      </a:solidFill>
                      <a:prstDash val="solid"/>
                    </a:lnB>
                    <a:noFill/>
                  </a:tcPr>
                </a:tc>
                <a:tc>
                  <a:txBody>
                    <a:bodyPr/>
                    <a:lstStyle/>
                    <a:p>
                      <a:r>
                        <a:rPr lang="lv-LV" sz="2000" b="1">
                          <a:solidFill>
                            <a:schemeClr val="tx1">
                              <a:lumMod val="75000"/>
                              <a:lumOff val="25000"/>
                            </a:schemeClr>
                          </a:solidFill>
                          <a:latin typeface="Oswald" panose="00000500000000000000" pitchFamily="2" charset="-70"/>
                        </a:rPr>
                        <a:t>Risinājumi</a:t>
                      </a:r>
                    </a:p>
                  </a:txBody>
                  <a:tcPr marL="241145" marR="143792" marT="120572" marB="120572">
                    <a:lnL w="12700" cmpd="sng">
                      <a:noFill/>
                      <a:prstDash val="solid"/>
                    </a:lnL>
                    <a:lnR w="12700" cmpd="sng">
                      <a:noFill/>
                      <a:prstDash val="solid"/>
                    </a:lnR>
                    <a:lnT w="12700" cmpd="sng">
                      <a:noFill/>
                      <a:prstDash val="solid"/>
                    </a:lnT>
                    <a:lnB w="9525" cap="flat" cmpd="sng" algn="ctr">
                      <a:solidFill>
                        <a:srgbClr val="D8DCDC"/>
                      </a:solidFill>
                      <a:prstDash val="solid"/>
                    </a:lnB>
                    <a:noFill/>
                  </a:tcPr>
                </a:tc>
                <a:extLst>
                  <a:ext uri="{0D108BD9-81ED-4DB2-BD59-A6C34878D82A}">
                    <a16:rowId xmlns:a16="http://schemas.microsoft.com/office/drawing/2014/main" val="339442911"/>
                  </a:ext>
                </a:extLst>
              </a:tr>
              <a:tr h="75759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Ēdienkartes vērtēt ir sarežģīti un darbietilpīgi</a:t>
                      </a:r>
                    </a:p>
                  </a:txBody>
                  <a:tcPr marL="241145" marR="143792" marT="120572" marB="120572">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Ēdienkartes izstrādā pasūtītājs</a:t>
                      </a:r>
                    </a:p>
                    <a:p>
                      <a:endParaRPr lang="lv-LV" sz="2000" dirty="0">
                        <a:solidFill>
                          <a:schemeClr val="tx1">
                            <a:lumMod val="75000"/>
                            <a:lumOff val="25000"/>
                          </a:schemeClr>
                        </a:solidFill>
                        <a:latin typeface="Oswald" panose="00000500000000000000" pitchFamily="2" charset="-70"/>
                      </a:endParaRPr>
                    </a:p>
                  </a:txBody>
                  <a:tcPr marL="241145" marR="143792" marT="120572" marB="120572">
                    <a:lnL w="9525" cap="flat" cmpd="sng" algn="ctr">
                      <a:solidFill>
                        <a:srgbClr val="D8DCDC"/>
                      </a:solidFill>
                      <a:prstDash val="solid"/>
                    </a:lnL>
                    <a:lnR w="9525" cap="flat" cmpd="sng" algn="ctr">
                      <a:solidFill>
                        <a:srgbClr val="D8DCDC"/>
                      </a:solidFill>
                      <a:prstDash val="solid"/>
                    </a:lnR>
                    <a:lnT w="9525" cap="flat" cmpd="sng" algn="ctr">
                      <a:solidFill>
                        <a:srgbClr val="D8DCDC"/>
                      </a:solidFill>
                      <a:prstDash val="solid"/>
                    </a:lnT>
                    <a:lnB w="9525" cap="flat" cmpd="sng" algn="ctr">
                      <a:solidFill>
                        <a:srgbClr val="D8DCDC"/>
                      </a:solidFill>
                      <a:prstDash val="solid"/>
                    </a:lnB>
                    <a:solidFill>
                      <a:srgbClr val="D8DEDC">
                        <a:alpha val="20000"/>
                      </a:srgbClr>
                    </a:solidFill>
                  </a:tcPr>
                </a:tc>
                <a:extLst>
                  <a:ext uri="{0D108BD9-81ED-4DB2-BD59-A6C34878D82A}">
                    <a16:rowId xmlns:a16="http://schemas.microsoft.com/office/drawing/2014/main" val="1711435345"/>
                  </a:ext>
                </a:extLst>
              </a:tr>
              <a:tr h="73374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Visus produktus vērtēt ir sarežģīti, darbietilpīgi un nelietderīgi</a:t>
                      </a:r>
                    </a:p>
                  </a:txBody>
                  <a:tcPr marL="241145" marR="143792" marT="120572" marB="120572">
                    <a:lnL w="9525" cap="flat" cmpd="sng" algn="ctr">
                      <a:solidFill>
                        <a:srgbClr val="D8DEDC"/>
                      </a:solidFill>
                      <a:prstDash val="solid"/>
                    </a:lnL>
                    <a:lnR w="9525" cap="flat" cmpd="sng" algn="ctr">
                      <a:solidFill>
                        <a:srgbClr val="D8DEDC"/>
                      </a:solidFill>
                      <a:prstDash val="solid"/>
                      <a:round/>
                      <a:headEnd type="none" w="med" len="med"/>
                      <a:tailEnd type="none" w="med" len="med"/>
                    </a:lnR>
                    <a:lnT w="9525" cap="flat" cmpd="sng" algn="ctr">
                      <a:solidFill>
                        <a:srgbClr val="D8DCDC"/>
                      </a:solidFill>
                      <a:prstDash val="solid"/>
                      <a:round/>
                      <a:headEnd type="none" w="med" len="med"/>
                      <a:tailEnd type="none" w="med" len="med"/>
                    </a:lnT>
                    <a:lnB w="9525" cap="flat" cmpd="sng" algn="ctr">
                      <a:solidFill>
                        <a:srgbClr val="D8DCDC"/>
                      </a:solidFill>
                      <a:prstDash val="solid"/>
                    </a:lnB>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Definēt galveno produktu sarakstu</a:t>
                      </a:r>
                    </a:p>
                  </a:txBody>
                  <a:tcPr marL="241145" marR="143792" marT="120572" marB="120572">
                    <a:lnL w="9525" cap="flat" cmpd="sng" algn="ctr">
                      <a:solidFill>
                        <a:srgbClr val="D8DEDC"/>
                      </a:solidFill>
                      <a:prstDash val="solid"/>
                      <a:round/>
                      <a:headEnd type="none" w="med" len="med"/>
                      <a:tailEnd type="none" w="med" len="med"/>
                    </a:lnL>
                    <a:lnR w="9525" cap="flat" cmpd="sng" algn="ctr">
                      <a:solidFill>
                        <a:srgbClr val="D8DEDC"/>
                      </a:solidFill>
                      <a:prstDash val="solid"/>
                    </a:lnR>
                    <a:lnT w="9525" cap="flat" cmpd="sng" algn="ctr">
                      <a:solidFill>
                        <a:srgbClr val="D8DCDC"/>
                      </a:solidFill>
                      <a:prstDash val="solid"/>
                      <a:round/>
                      <a:headEnd type="none" w="med" len="med"/>
                      <a:tailEnd type="none" w="med" len="med"/>
                    </a:lnT>
                    <a:lnB w="9525" cap="flat" cmpd="sng" algn="ctr">
                      <a:solidFill>
                        <a:srgbClr val="D8DCDC"/>
                      </a:solidFill>
                      <a:prstDash val="solid"/>
                    </a:lnB>
                    <a:noFill/>
                  </a:tcPr>
                </a:tc>
                <a:extLst>
                  <a:ext uri="{0D108BD9-81ED-4DB2-BD59-A6C34878D82A}">
                    <a16:rowId xmlns:a16="http://schemas.microsoft.com/office/drawing/2014/main" val="4137096495"/>
                  </a:ext>
                </a:extLst>
              </a:tr>
              <a:tr h="89223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Pārtikas (bioloģisko, nacionālo, integrēto) produktu kvalitāte kļūst par obligāto prasību</a:t>
                      </a:r>
                    </a:p>
                  </a:txBody>
                  <a:tcPr marL="241145" marR="143792" marT="120572" marB="120572">
                    <a:lnL w="9525" cap="flat" cmpd="sng" algn="ctr">
                      <a:solidFill>
                        <a:srgbClr val="D8DCDC"/>
                      </a:solidFill>
                      <a:prstDash val="solid"/>
                    </a:lnL>
                    <a:lnR w="9525" cap="flat" cmpd="sng" algn="ctr">
                      <a:solidFill>
                        <a:srgbClr val="D8DCDC"/>
                      </a:solidFill>
                      <a:prstDash val="solid"/>
                      <a:round/>
                      <a:headEnd type="none" w="med" len="med"/>
                      <a:tailEnd type="none" w="med" len="med"/>
                    </a:lnR>
                    <a:lnT w="9525" cap="flat" cmpd="sng" algn="ctr">
                      <a:solidFill>
                        <a:srgbClr val="D8DCDC"/>
                      </a:solidFill>
                      <a:prstDash val="solid"/>
                      <a:round/>
                      <a:headEnd type="none" w="med" len="med"/>
                      <a:tailEnd type="none" w="med" len="med"/>
                    </a:lnT>
                    <a:lnB w="9525" cap="flat" cmpd="sng" algn="ctr">
                      <a:solidFill>
                        <a:srgbClr val="D8DCDC"/>
                      </a:solidFill>
                      <a:prstDash val="solid"/>
                      <a:round/>
                      <a:headEnd type="none" w="med" len="med"/>
                      <a:tailEnd type="none" w="med" len="med"/>
                    </a:lnB>
                    <a:solidFill>
                      <a:srgbClr val="D8DEDC">
                        <a:alpha val="20000"/>
                      </a:srgb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Piešķirt punktus par produktiem, kas pārsniedz obligāto prasību apjomu</a:t>
                      </a:r>
                    </a:p>
                  </a:txBody>
                  <a:tcPr marL="241145" marR="143792" marT="120572" marB="120572">
                    <a:lnL w="9525" cap="flat" cmpd="sng" algn="ctr">
                      <a:solidFill>
                        <a:srgbClr val="D8DCDC"/>
                      </a:solidFill>
                      <a:prstDash val="solid"/>
                      <a:round/>
                      <a:headEnd type="none" w="med" len="med"/>
                      <a:tailEnd type="none" w="med" len="med"/>
                    </a:lnL>
                    <a:lnR w="9525" cap="flat" cmpd="sng" algn="ctr">
                      <a:solidFill>
                        <a:srgbClr val="D8DCDC"/>
                      </a:solidFill>
                      <a:prstDash val="solid"/>
                    </a:lnR>
                    <a:lnT w="9525" cap="flat" cmpd="sng" algn="ctr">
                      <a:solidFill>
                        <a:srgbClr val="D8DCDC"/>
                      </a:solidFill>
                      <a:prstDash val="solid"/>
                      <a:round/>
                      <a:headEnd type="none" w="med" len="med"/>
                      <a:tailEnd type="none" w="med" len="med"/>
                    </a:lnT>
                    <a:lnB w="9525" cap="flat" cmpd="sng" algn="ctr">
                      <a:solidFill>
                        <a:srgbClr val="D8DCDC"/>
                      </a:solidFill>
                      <a:prstDash val="solid"/>
                      <a:round/>
                      <a:headEnd type="none" w="med" len="med"/>
                      <a:tailEnd type="none" w="med" len="med"/>
                    </a:lnB>
                    <a:solidFill>
                      <a:srgbClr val="D8DEDC">
                        <a:alpha val="20000"/>
                      </a:srgbClr>
                    </a:solidFill>
                  </a:tcPr>
                </a:tc>
                <a:extLst>
                  <a:ext uri="{0D108BD9-81ED-4DB2-BD59-A6C34878D82A}">
                    <a16:rowId xmlns:a16="http://schemas.microsoft.com/office/drawing/2014/main" val="1458474720"/>
                  </a:ext>
                </a:extLst>
              </a:tr>
              <a:tr h="89223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ZPI not. pieļauj noteikt bioloģisko, nacionālo, integrēto produktu daļu % no visas masas vai vērtības, kuru nav iespējams kontrolēt līguma izpildē ārpakalpojuma gadījumā</a:t>
                      </a:r>
                    </a:p>
                    <a:p>
                      <a:endParaRPr lang="lv-LV" sz="2000" dirty="0">
                        <a:solidFill>
                          <a:schemeClr val="tx1">
                            <a:lumMod val="75000"/>
                            <a:lumOff val="25000"/>
                          </a:schemeClr>
                        </a:solidFill>
                        <a:latin typeface="Oswald" panose="00000500000000000000" pitchFamily="2" charset="-70"/>
                      </a:endParaRPr>
                    </a:p>
                  </a:txBody>
                  <a:tcPr marL="241145" marR="143792" marT="120572" marB="120572">
                    <a:lnL w="9525" cap="flat" cmpd="sng" algn="ctr">
                      <a:solidFill>
                        <a:srgbClr val="D8DCDC"/>
                      </a:solidFill>
                      <a:prstDash val="solid"/>
                    </a:lnL>
                    <a:lnR w="9525" cap="flat" cmpd="sng" algn="ctr">
                      <a:solidFill>
                        <a:srgbClr val="D8DCDC"/>
                      </a:solidFill>
                      <a:prstDash val="solid"/>
                      <a:round/>
                      <a:headEnd type="none" w="med" len="med"/>
                      <a:tailEnd type="none" w="med" len="med"/>
                    </a:lnR>
                    <a:lnT w="9525" cap="flat" cmpd="sng" algn="ctr">
                      <a:solidFill>
                        <a:srgbClr val="D8DCDC"/>
                      </a:solidFill>
                      <a:prstDash val="solid"/>
                      <a:round/>
                      <a:headEnd type="none" w="med" len="med"/>
                      <a:tailEnd type="none" w="med" len="med"/>
                    </a:lnT>
                    <a:lnB w="9525" cap="flat" cmpd="sng" algn="ctr">
                      <a:solidFill>
                        <a:srgbClr val="D8DCDC"/>
                      </a:solidFill>
                      <a:prstDash val="solid"/>
                      <a:round/>
                      <a:headEnd type="none" w="med" len="med"/>
                      <a:tailEnd type="none" w="med" len="med"/>
                    </a:lnB>
                    <a:solidFill>
                      <a:srgbClr val="D8DEDC">
                        <a:alpha val="20000"/>
                      </a:srgb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lv-LV" sz="2000" dirty="0">
                          <a:solidFill>
                            <a:schemeClr val="tx1">
                              <a:lumMod val="75000"/>
                              <a:lumOff val="25000"/>
                            </a:schemeClr>
                          </a:solidFill>
                          <a:latin typeface="Oswald" panose="00000500000000000000" pitchFamily="2" charset="-70"/>
                        </a:rPr>
                        <a:t>Paredzēt 100% apjomu atsevišķiem produktiem, par kuru pieejamību nav šaubas, kuru cena ir samērīga, vai apjoms nav būtisks</a:t>
                      </a:r>
                    </a:p>
                    <a:p>
                      <a:endParaRPr lang="lv-LV" sz="2000" dirty="0">
                        <a:solidFill>
                          <a:schemeClr val="tx1">
                            <a:lumMod val="75000"/>
                            <a:lumOff val="25000"/>
                          </a:schemeClr>
                        </a:solidFill>
                        <a:latin typeface="Oswald" panose="00000500000000000000" pitchFamily="2" charset="-70"/>
                      </a:endParaRPr>
                    </a:p>
                  </a:txBody>
                  <a:tcPr marL="241145" marR="143792" marT="120572" marB="120572">
                    <a:lnL w="9525" cap="flat" cmpd="sng" algn="ctr">
                      <a:solidFill>
                        <a:srgbClr val="D8DCDC"/>
                      </a:solidFill>
                      <a:prstDash val="solid"/>
                      <a:round/>
                      <a:headEnd type="none" w="med" len="med"/>
                      <a:tailEnd type="none" w="med" len="med"/>
                    </a:lnL>
                    <a:lnR w="9525" cap="flat" cmpd="sng" algn="ctr">
                      <a:solidFill>
                        <a:srgbClr val="D8DCDC"/>
                      </a:solidFill>
                      <a:prstDash val="solid"/>
                    </a:lnR>
                    <a:lnT w="9525" cap="flat" cmpd="sng" algn="ctr">
                      <a:solidFill>
                        <a:srgbClr val="D8DCDC"/>
                      </a:solidFill>
                      <a:prstDash val="solid"/>
                      <a:round/>
                      <a:headEnd type="none" w="med" len="med"/>
                      <a:tailEnd type="none" w="med" len="med"/>
                    </a:lnT>
                    <a:lnB w="9525" cap="flat" cmpd="sng" algn="ctr">
                      <a:solidFill>
                        <a:srgbClr val="D8DCDC"/>
                      </a:solidFill>
                      <a:prstDash val="solid"/>
                      <a:round/>
                      <a:headEnd type="none" w="med" len="med"/>
                      <a:tailEnd type="none" w="med" len="med"/>
                    </a:lnB>
                    <a:solidFill>
                      <a:srgbClr val="D8DEDC">
                        <a:alpha val="20000"/>
                      </a:srgbClr>
                    </a:solidFill>
                  </a:tcPr>
                </a:tc>
                <a:extLst>
                  <a:ext uri="{0D108BD9-81ED-4DB2-BD59-A6C34878D82A}">
                    <a16:rowId xmlns:a16="http://schemas.microsoft.com/office/drawing/2014/main" val="858345062"/>
                  </a:ext>
                </a:extLst>
              </a:tr>
            </a:tbl>
          </a:graphicData>
        </a:graphic>
      </p:graphicFrame>
    </p:spTree>
    <p:extLst>
      <p:ext uri="{BB962C8B-B14F-4D97-AF65-F5344CB8AC3E}">
        <p14:creationId xmlns:p14="http://schemas.microsoft.com/office/powerpoint/2010/main" val="600146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500477" y="1240503"/>
            <a:ext cx="6187257" cy="3282906"/>
            <a:chOff x="7395435" y="3406110"/>
            <a:chExt cx="4930414" cy="4377209"/>
          </a:xfrm>
        </p:grpSpPr>
        <p:sp>
          <p:nvSpPr>
            <p:cNvPr id="5" name="TextBox 4"/>
            <p:cNvSpPr txBox="1"/>
            <p:nvPr/>
          </p:nvSpPr>
          <p:spPr>
            <a:xfrm>
              <a:off x="7395435" y="3406110"/>
              <a:ext cx="4838657" cy="2298066"/>
            </a:xfrm>
            <a:prstGeom prst="rect">
              <a:avLst/>
            </a:prstGeom>
            <a:noFill/>
          </p:spPr>
          <p:txBody>
            <a:bodyPr wrap="square" lIns="0" tIns="0" rIns="0" bIns="0" rtlCol="0">
              <a:spAutoFit/>
            </a:bodyPr>
            <a:lstStyle/>
            <a:p>
              <a:pPr>
                <a:lnSpc>
                  <a:spcPct val="80000"/>
                </a:lnSpc>
              </a:pPr>
              <a:r>
                <a:rPr lang="lv-LV" sz="2800" spc="225" dirty="0">
                  <a:solidFill>
                    <a:schemeClr val="tx2"/>
                  </a:solidFill>
                  <a:latin typeface="Oswald" panose="00000500000000000000" pitchFamily="2" charset="-70"/>
                </a:rPr>
                <a:t>BIO vai NPKS prasībām atbilstošu produktu apjoms, kas pārsniedz tehniskajā specifikācijā norādīto minimālo apjomu.</a:t>
              </a:r>
            </a:p>
            <a:p>
              <a:pPr>
                <a:lnSpc>
                  <a:spcPct val="80000"/>
                </a:lnSpc>
              </a:pPr>
              <a:endParaRPr lang="en-US" sz="2800" spc="225" dirty="0">
                <a:solidFill>
                  <a:schemeClr val="tx2"/>
                </a:solidFill>
                <a:latin typeface="Oswald" panose="00000500000000000000" pitchFamily="2" charset="-70"/>
              </a:endParaRPr>
            </a:p>
          </p:txBody>
        </p:sp>
        <p:sp>
          <p:nvSpPr>
            <p:cNvPr id="6" name="Rectangle 5"/>
            <p:cNvSpPr/>
            <p:nvPr/>
          </p:nvSpPr>
          <p:spPr>
            <a:xfrm>
              <a:off x="7395435" y="5600157"/>
              <a:ext cx="4930414" cy="2183162"/>
            </a:xfrm>
            <a:prstGeom prst="rect">
              <a:avLst/>
            </a:prstGeom>
          </p:spPr>
          <p:txBody>
            <a:bodyPr wrap="square" lIns="0" tIns="0" rIns="0" bIns="0">
              <a:spAutoFit/>
            </a:bodyPr>
            <a:lstStyle/>
            <a:p>
              <a:r>
                <a:rPr lang="lv-LV" sz="1600" b="1" spc="225" dirty="0">
                  <a:solidFill>
                    <a:schemeClr val="tx2"/>
                  </a:solidFill>
                  <a:latin typeface="Oswald" panose="00000500000000000000" pitchFamily="2" charset="-70"/>
                </a:rPr>
                <a:t>5 punktus </a:t>
              </a:r>
              <a:r>
                <a:rPr lang="lv-LV" sz="1600" spc="225" dirty="0">
                  <a:solidFill>
                    <a:schemeClr val="tx2"/>
                  </a:solidFill>
                  <a:latin typeface="Oswald" panose="00000500000000000000" pitchFamily="2" charset="-70"/>
                </a:rPr>
                <a:t>piešķir par katru BL vai  NPKS prasībām atbilstošu pārtikas produktu, kuru pretendents piedāvā Produktu saraksta 3.tabulā papildus tiem BL vai NPKS produktiem, kas no Pasūtītāja puses noteikti kā obligāti Produktu saraksta 1. un 2.tabulā.</a:t>
              </a:r>
            </a:p>
            <a:p>
              <a:pPr>
                <a:lnSpc>
                  <a:spcPct val="150000"/>
                </a:lnSpc>
              </a:pPr>
              <a:endParaRPr lang="en-US" sz="2000" dirty="0">
                <a:latin typeface="Oswald" panose="00000500000000000000" pitchFamily="2" charset="-70"/>
              </a:endParaRPr>
            </a:p>
          </p:txBody>
        </p:sp>
      </p:grpSp>
      <p:cxnSp>
        <p:nvCxnSpPr>
          <p:cNvPr id="9" name="Straight Connector 8"/>
          <p:cNvCxnSpPr/>
          <p:nvPr/>
        </p:nvCxnSpPr>
        <p:spPr>
          <a:xfrm>
            <a:off x="1759073" y="781554"/>
            <a:ext cx="812489" cy="0"/>
          </a:xfrm>
          <a:prstGeom prst="line">
            <a:avLst/>
          </a:prstGeom>
          <a:ln>
            <a:solidFill>
              <a:srgbClr val="377790"/>
            </a:solidFill>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1689420" y="257112"/>
            <a:ext cx="4616553" cy="360099"/>
          </a:xfrm>
          <a:prstGeom prst="rect">
            <a:avLst/>
          </a:prstGeom>
          <a:noFill/>
        </p:spPr>
        <p:txBody>
          <a:bodyPr wrap="square" lIns="68580" tIns="34290" rIns="68580" bIns="34290" rtlCol="0">
            <a:spAutoFit/>
          </a:bodyPr>
          <a:lstStyle/>
          <a:p>
            <a:pPr>
              <a:lnSpc>
                <a:spcPct val="90000"/>
              </a:lnSpc>
            </a:pPr>
            <a:r>
              <a:rPr lang="lv-LV" sz="2100" spc="23" dirty="0">
                <a:solidFill>
                  <a:schemeClr val="tx2"/>
                </a:solidFill>
                <a:latin typeface="Oswald" panose="00000500000000000000" pitchFamily="2" charset="-70"/>
              </a:rPr>
              <a:t>KRITĒRIJS Nr.1 (</a:t>
            </a:r>
            <a:r>
              <a:rPr lang="lv-LV" sz="2100" spc="23" dirty="0" err="1">
                <a:solidFill>
                  <a:schemeClr val="tx2"/>
                </a:solidFill>
                <a:latin typeface="Oswald" panose="00000500000000000000" pitchFamily="2" charset="-70"/>
              </a:rPr>
              <a:t>max</a:t>
            </a:r>
            <a:r>
              <a:rPr lang="lv-LV" sz="2100" spc="23" dirty="0">
                <a:solidFill>
                  <a:schemeClr val="tx2"/>
                </a:solidFill>
                <a:latin typeface="Oswald" panose="00000500000000000000" pitchFamily="2" charset="-70"/>
              </a:rPr>
              <a:t> 50 punkti)</a:t>
            </a:r>
            <a:endParaRPr lang="en-US" sz="2100" spc="23" dirty="0">
              <a:solidFill>
                <a:schemeClr val="tx2"/>
              </a:solidFill>
              <a:latin typeface="Oswald" panose="00000500000000000000" pitchFamily="2" charset="-70"/>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flipH="1">
            <a:off x="-1371990" y="2295695"/>
            <a:ext cx="4228594" cy="1180687"/>
          </a:xfrm>
          <a:prstGeom prst="rect">
            <a:avLst/>
          </a:prstGeom>
        </p:spPr>
      </p:pic>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74366" y="1640669"/>
            <a:ext cx="4228594" cy="1180687"/>
          </a:xfrm>
          <a:prstGeom prst="rect">
            <a:avLst/>
          </a:prstGeom>
        </p:spPr>
      </p:pic>
    </p:spTree>
    <p:extLst>
      <p:ext uri="{BB962C8B-B14F-4D97-AF65-F5344CB8AC3E}">
        <p14:creationId xmlns:p14="http://schemas.microsoft.com/office/powerpoint/2010/main" val="2823859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barn(inVertical)">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622509" y="1672342"/>
            <a:ext cx="5898980" cy="1749613"/>
            <a:chOff x="7492678" y="3981897"/>
            <a:chExt cx="4700696" cy="2332819"/>
          </a:xfrm>
        </p:grpSpPr>
        <p:sp>
          <p:nvSpPr>
            <p:cNvPr id="5" name="TextBox 4"/>
            <p:cNvSpPr txBox="1"/>
            <p:nvPr/>
          </p:nvSpPr>
          <p:spPr>
            <a:xfrm>
              <a:off x="7492678" y="3981897"/>
              <a:ext cx="4700696" cy="1382260"/>
            </a:xfrm>
            <a:prstGeom prst="rect">
              <a:avLst/>
            </a:prstGeom>
            <a:noFill/>
          </p:spPr>
          <p:txBody>
            <a:bodyPr wrap="square" lIns="0" tIns="0" rIns="0" bIns="0" rtlCol="0">
              <a:spAutoFit/>
            </a:bodyPr>
            <a:lstStyle/>
            <a:p>
              <a:pPr>
                <a:lnSpc>
                  <a:spcPct val="80000"/>
                </a:lnSpc>
              </a:pPr>
              <a:r>
                <a:rPr lang="lv-LV" sz="2800" spc="225" dirty="0">
                  <a:solidFill>
                    <a:schemeClr val="tx2"/>
                  </a:solidFill>
                  <a:latin typeface="Oswald" panose="00000500000000000000" pitchFamily="2" charset="-70"/>
                </a:rPr>
                <a:t>LPIA prasībām atbilstošu produktu apjoms</a:t>
              </a:r>
            </a:p>
            <a:p>
              <a:pPr>
                <a:lnSpc>
                  <a:spcPct val="80000"/>
                </a:lnSpc>
              </a:pPr>
              <a:endParaRPr lang="en-US" sz="2800" spc="225" dirty="0">
                <a:solidFill>
                  <a:schemeClr val="tx2"/>
                </a:solidFill>
                <a:latin typeface="+mj-lt"/>
              </a:endParaRPr>
            </a:p>
          </p:txBody>
        </p:sp>
        <p:sp>
          <p:nvSpPr>
            <p:cNvPr id="6" name="Rectangle 5"/>
            <p:cNvSpPr/>
            <p:nvPr/>
          </p:nvSpPr>
          <p:spPr>
            <a:xfrm>
              <a:off x="7492678" y="5212447"/>
              <a:ext cx="4584888" cy="1102269"/>
            </a:xfrm>
            <a:prstGeom prst="rect">
              <a:avLst/>
            </a:prstGeom>
          </p:spPr>
          <p:txBody>
            <a:bodyPr wrap="square" lIns="0" tIns="0" rIns="0" bIns="0">
              <a:spAutoFit/>
            </a:bodyPr>
            <a:lstStyle/>
            <a:p>
              <a:pPr algn="just">
                <a:lnSpc>
                  <a:spcPct val="115000"/>
                </a:lnSpc>
                <a:spcAft>
                  <a:spcPts val="1000"/>
                </a:spcAft>
              </a:pPr>
              <a:r>
                <a:rPr lang="lv-LV" sz="1600" b="1" spc="225" dirty="0">
                  <a:solidFill>
                    <a:schemeClr val="tx2"/>
                  </a:solidFill>
                  <a:latin typeface="Oswald" panose="00000500000000000000" pitchFamily="2" charset="-70"/>
                </a:rPr>
                <a:t>2 punktus </a:t>
              </a:r>
              <a:r>
                <a:rPr lang="lv-LV" sz="1600" spc="225" dirty="0">
                  <a:solidFill>
                    <a:schemeClr val="tx2"/>
                  </a:solidFill>
                  <a:latin typeface="Oswald" panose="00000500000000000000" pitchFamily="2" charset="-70"/>
                </a:rPr>
                <a:t>piešķir par katru LPIA prasībām atbilstošu pārtikas produktu, kuru pretendents piedāvā Produktu saraksta 3.tabulā.</a:t>
              </a:r>
            </a:p>
          </p:txBody>
        </p:sp>
      </p:grpSp>
      <p:cxnSp>
        <p:nvCxnSpPr>
          <p:cNvPr id="9" name="Straight Connector 8"/>
          <p:cNvCxnSpPr/>
          <p:nvPr/>
        </p:nvCxnSpPr>
        <p:spPr>
          <a:xfrm>
            <a:off x="1622510" y="1336968"/>
            <a:ext cx="812489" cy="0"/>
          </a:xfrm>
          <a:prstGeom prst="line">
            <a:avLst/>
          </a:prstGeom>
          <a:ln>
            <a:solidFill>
              <a:srgbClr val="377790"/>
            </a:solidFill>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1576786" y="695463"/>
            <a:ext cx="4616553" cy="360099"/>
          </a:xfrm>
          <a:prstGeom prst="rect">
            <a:avLst/>
          </a:prstGeom>
          <a:noFill/>
        </p:spPr>
        <p:txBody>
          <a:bodyPr wrap="square" lIns="68580" tIns="34290" rIns="68580" bIns="34290" rtlCol="0">
            <a:spAutoFit/>
          </a:bodyPr>
          <a:lstStyle/>
          <a:p>
            <a:pPr>
              <a:lnSpc>
                <a:spcPct val="90000"/>
              </a:lnSpc>
            </a:pPr>
            <a:r>
              <a:rPr lang="lv-LV" sz="2100" spc="23" dirty="0">
                <a:solidFill>
                  <a:schemeClr val="tx2"/>
                </a:solidFill>
                <a:latin typeface="Oswald" panose="00000500000000000000" pitchFamily="2" charset="-70"/>
              </a:rPr>
              <a:t>KRITĒRIJS Nr.2 (</a:t>
            </a:r>
            <a:r>
              <a:rPr lang="lv-LV" sz="2100" spc="23" dirty="0" err="1">
                <a:solidFill>
                  <a:schemeClr val="tx2"/>
                </a:solidFill>
                <a:latin typeface="Oswald" panose="00000500000000000000" pitchFamily="2" charset="-70"/>
              </a:rPr>
              <a:t>max</a:t>
            </a:r>
            <a:r>
              <a:rPr lang="lv-LV" sz="2100" spc="23" dirty="0">
                <a:solidFill>
                  <a:schemeClr val="tx2"/>
                </a:solidFill>
                <a:latin typeface="Oswald" panose="00000500000000000000" pitchFamily="2" charset="-70"/>
              </a:rPr>
              <a:t> 20 punkti)</a:t>
            </a:r>
            <a:endParaRPr lang="en-US" sz="2100" spc="23" dirty="0">
              <a:solidFill>
                <a:schemeClr val="tx2"/>
              </a:solidFill>
              <a:latin typeface="Oswald" panose="00000500000000000000" pitchFamily="2" charset="-70"/>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flipH="1">
            <a:off x="-1371990" y="2295695"/>
            <a:ext cx="4228594" cy="1180687"/>
          </a:xfrm>
          <a:prstGeom prst="rect">
            <a:avLst/>
          </a:prstGeom>
        </p:spPr>
      </p:pic>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74366" y="1640669"/>
            <a:ext cx="4228594" cy="1180687"/>
          </a:xfrm>
          <a:prstGeom prst="rect">
            <a:avLst/>
          </a:prstGeom>
        </p:spPr>
      </p:pic>
    </p:spTree>
    <p:extLst>
      <p:ext uri="{BB962C8B-B14F-4D97-AF65-F5344CB8AC3E}">
        <p14:creationId xmlns:p14="http://schemas.microsoft.com/office/powerpoint/2010/main" val="1562282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barn(inVertical)">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4572000" y="-23924"/>
            <a:ext cx="0" cy="1138349"/>
          </a:xfrm>
          <a:prstGeom prst="line">
            <a:avLst/>
          </a:prstGeom>
          <a:ln w="285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000" y="3838575"/>
            <a:ext cx="0" cy="1346563"/>
          </a:xfrm>
          <a:prstGeom prst="line">
            <a:avLst/>
          </a:prstGeom>
          <a:ln w="285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762000" y="1942970"/>
            <a:ext cx="2003645" cy="927465"/>
            <a:chOff x="1016000" y="2590624"/>
            <a:chExt cx="2671527" cy="1236620"/>
          </a:xfrm>
        </p:grpSpPr>
        <p:sp>
          <p:nvSpPr>
            <p:cNvPr id="22" name="TextBox 21"/>
            <p:cNvSpPr txBox="1"/>
            <p:nvPr/>
          </p:nvSpPr>
          <p:spPr>
            <a:xfrm>
              <a:off x="1016000" y="2590624"/>
              <a:ext cx="2671527" cy="58477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spc="-151">
                  <a:solidFill>
                    <a:schemeClr val="bg1"/>
                  </a:solidFill>
                  <a:latin typeface="Titillium" panose="00000500000000000000" pitchFamily="50" charset="0"/>
                  <a:ea typeface="Roboto" panose="02000000000000000000" pitchFamily="2" charset="0"/>
                  <a:cs typeface="Open Sans Semibold" panose="020B07060308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sz="2100" spc="0" dirty="0">
                  <a:latin typeface="Montserrat Regular"/>
                  <a:cs typeface="Montserrat Regular"/>
                </a:rPr>
                <a:t>Our Service</a:t>
              </a:r>
            </a:p>
          </p:txBody>
        </p:sp>
        <p:sp>
          <p:nvSpPr>
            <p:cNvPr id="23" name="TextBox 22"/>
            <p:cNvSpPr txBox="1"/>
            <p:nvPr/>
          </p:nvSpPr>
          <p:spPr>
            <a:xfrm>
              <a:off x="1058013" y="3150136"/>
              <a:ext cx="2615867" cy="677108"/>
            </a:xfrm>
            <a:prstGeom prst="rect">
              <a:avLst/>
            </a:prstGeom>
            <a:noFill/>
          </p:spPr>
          <p:txBody>
            <a:bodyPr wrap="square" rtlCol="0">
              <a:spAutoFit/>
            </a:bodyPr>
            <a:lstStyle/>
            <a:p>
              <a:pPr algn="r"/>
              <a:r>
                <a:rPr lang="id-ID" sz="900" dirty="0">
                  <a:solidFill>
                    <a:schemeClr val="bg1"/>
                  </a:solidFill>
                  <a:latin typeface="Raleway"/>
                  <a:cs typeface="Raleway"/>
                </a:rPr>
                <a:t>Suitable for all category</a:t>
              </a:r>
              <a:r>
                <a:rPr lang="en-US" sz="900" dirty="0">
                  <a:solidFill>
                    <a:schemeClr val="bg1"/>
                  </a:solidFill>
                  <a:latin typeface="Raleway"/>
                  <a:cs typeface="Raleway"/>
                </a:rPr>
                <a:t>, Lorem Ipsum is not simply random text. It has roots in a piece.</a:t>
              </a:r>
              <a:endParaRPr lang="en-US" sz="900" b="1" dirty="0">
                <a:solidFill>
                  <a:schemeClr val="bg1"/>
                </a:solidFill>
                <a:latin typeface="Raleway"/>
                <a:cs typeface="Raleway"/>
              </a:endParaRPr>
            </a:p>
          </p:txBody>
        </p:sp>
      </p:grpSp>
      <p:sp>
        <p:nvSpPr>
          <p:cNvPr id="4" name="Arc 3"/>
          <p:cNvSpPr/>
          <p:nvPr/>
        </p:nvSpPr>
        <p:spPr>
          <a:xfrm>
            <a:off x="3327272" y="1134293"/>
            <a:ext cx="2489454" cy="2489454"/>
          </a:xfrm>
          <a:prstGeom prst="arc">
            <a:avLst>
              <a:gd name="adj1" fmla="val 12042590"/>
              <a:gd name="adj2" fmla="val 20458908"/>
            </a:avLst>
          </a:prstGeom>
          <a:ln w="285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algn="ctr"/>
            <a:endParaRPr lang="en-US">
              <a:solidFill>
                <a:srgbClr val="383838"/>
              </a:solidFill>
            </a:endParaRPr>
          </a:p>
        </p:txBody>
      </p:sp>
      <p:grpSp>
        <p:nvGrpSpPr>
          <p:cNvPr id="3" name="Group 2"/>
          <p:cNvGrpSpPr/>
          <p:nvPr/>
        </p:nvGrpSpPr>
        <p:grpSpPr>
          <a:xfrm>
            <a:off x="6324069" y="1942970"/>
            <a:ext cx="1961900" cy="927465"/>
            <a:chOff x="8432091" y="2590624"/>
            <a:chExt cx="2615867" cy="1236620"/>
          </a:xfrm>
        </p:grpSpPr>
        <p:sp>
          <p:nvSpPr>
            <p:cNvPr id="39" name="TextBox 38"/>
            <p:cNvSpPr txBox="1"/>
            <p:nvPr/>
          </p:nvSpPr>
          <p:spPr>
            <a:xfrm>
              <a:off x="8432091" y="2590624"/>
              <a:ext cx="2054922" cy="58477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3200" spc="-151">
                  <a:solidFill>
                    <a:schemeClr val="bg1"/>
                  </a:solidFill>
                  <a:latin typeface="Titillium" panose="00000500000000000000" pitchFamily="50" charset="0"/>
                  <a:ea typeface="Roboto" panose="02000000000000000000" pitchFamily="2" charset="0"/>
                  <a:cs typeface="Open Sans Semibold" panose="020B07060308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100" spc="0" dirty="0">
                  <a:latin typeface="Montserrat Regular"/>
                  <a:cs typeface="Montserrat Regular"/>
                </a:rPr>
                <a:t>Our Team</a:t>
              </a:r>
            </a:p>
          </p:txBody>
        </p:sp>
        <p:sp>
          <p:nvSpPr>
            <p:cNvPr id="40" name="TextBox 39"/>
            <p:cNvSpPr txBox="1"/>
            <p:nvPr/>
          </p:nvSpPr>
          <p:spPr>
            <a:xfrm>
              <a:off x="8432091" y="3150136"/>
              <a:ext cx="2615867" cy="677108"/>
            </a:xfrm>
            <a:prstGeom prst="rect">
              <a:avLst/>
            </a:prstGeom>
            <a:noFill/>
          </p:spPr>
          <p:txBody>
            <a:bodyPr wrap="square" rtlCol="0">
              <a:spAutoFit/>
            </a:bodyPr>
            <a:lstStyle/>
            <a:p>
              <a:r>
                <a:rPr lang="id-ID" sz="900" dirty="0">
                  <a:solidFill>
                    <a:schemeClr val="bg1"/>
                  </a:solidFill>
                  <a:latin typeface="Raleway"/>
                  <a:cs typeface="Raleway"/>
                </a:rPr>
                <a:t>Suitable for all category</a:t>
              </a:r>
              <a:r>
                <a:rPr lang="en-US" sz="900" dirty="0">
                  <a:solidFill>
                    <a:schemeClr val="bg1"/>
                  </a:solidFill>
                  <a:latin typeface="Raleway"/>
                  <a:cs typeface="Raleway"/>
                </a:rPr>
                <a:t>, Lorem Ipsum is not simply random text. It has roots in a piece.</a:t>
              </a:r>
              <a:endParaRPr lang="en-US" sz="900" b="1" dirty="0">
                <a:solidFill>
                  <a:schemeClr val="bg1"/>
                </a:solidFill>
                <a:latin typeface="Raleway"/>
                <a:cs typeface="Raleway"/>
              </a:endParaRPr>
            </a:p>
          </p:txBody>
        </p:sp>
      </p:grpSp>
      <p:sp>
        <p:nvSpPr>
          <p:cNvPr id="41" name="Arc 40"/>
          <p:cNvSpPr/>
          <p:nvPr/>
        </p:nvSpPr>
        <p:spPr>
          <a:xfrm flipV="1">
            <a:off x="3327272" y="1359445"/>
            <a:ext cx="2489454" cy="2489454"/>
          </a:xfrm>
          <a:prstGeom prst="arc">
            <a:avLst>
              <a:gd name="adj1" fmla="val 12042590"/>
              <a:gd name="adj2" fmla="val 20458908"/>
            </a:avLst>
          </a:prstGeom>
          <a:ln w="28575">
            <a:solidFill>
              <a:schemeClr val="bg1"/>
            </a:solidFill>
            <a:headEnd type="oval"/>
            <a:tailEnd type="oval"/>
          </a:ln>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algn="ctr"/>
            <a:endParaRPr lang="en-US">
              <a:solidFill>
                <a:srgbClr val="383838"/>
              </a:solidFill>
            </a:endParaRPr>
          </a:p>
        </p:txBody>
      </p:sp>
      <p:pic>
        <p:nvPicPr>
          <p:cNvPr id="25" name="Picture 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flipH="1">
            <a:off x="-1371990" y="2295695"/>
            <a:ext cx="4228594" cy="1180687"/>
          </a:xfrm>
          <a:prstGeom prst="rect">
            <a:avLst/>
          </a:prstGeom>
        </p:spPr>
      </p:pic>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flipH="1">
            <a:off x="6274366" y="1640669"/>
            <a:ext cx="4228594" cy="1180687"/>
          </a:xfrm>
          <a:prstGeom prst="rect">
            <a:avLst/>
          </a:prstGeom>
        </p:spPr>
      </p:pic>
      <p:sp>
        <p:nvSpPr>
          <p:cNvPr id="17" name="Virsraksts 1">
            <a:extLst>
              <a:ext uri="{FF2B5EF4-FFF2-40B4-BE49-F238E27FC236}">
                <a16:creationId xmlns:a16="http://schemas.microsoft.com/office/drawing/2014/main" id="{33FAD884-23D3-4B60-A892-D84BFD037122}"/>
              </a:ext>
            </a:extLst>
          </p:cNvPr>
          <p:cNvSpPr txBox="1">
            <a:spLocks/>
          </p:cNvSpPr>
          <p:nvPr/>
        </p:nvSpPr>
        <p:spPr>
          <a:xfrm>
            <a:off x="1364161" y="1034902"/>
            <a:ext cx="6465661" cy="3965434"/>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spcBef>
                <a:spcPts val="0"/>
              </a:spcBef>
            </a:pPr>
            <a:endParaRPr lang="en-US" sz="1200" dirty="0">
              <a:solidFill>
                <a:schemeClr val="tx1"/>
              </a:solidFill>
              <a:latin typeface="Oswald" panose="00000500000000000000" pitchFamily="2" charset="-70"/>
            </a:endParaRPr>
          </a:p>
          <a:p>
            <a:pPr algn="ctr">
              <a:spcBef>
                <a:spcPts val="0"/>
              </a:spcBef>
            </a:pPr>
            <a:endParaRPr lang="lv-LV" sz="2400" dirty="0">
              <a:latin typeface="Oswald" panose="00000500000000000000" pitchFamily="2" charset="-70"/>
            </a:endParaRPr>
          </a:p>
          <a:p>
            <a:pPr algn="ctr"/>
            <a:r>
              <a:rPr lang="lv-LV" sz="2400" dirty="0">
                <a:latin typeface="Oswald" panose="00000500000000000000" pitchFamily="2" charset="-70"/>
                <a:ea typeface="Calibri" panose="020F0502020204030204" pitchFamily="34" charset="0"/>
              </a:rPr>
              <a:t> </a:t>
            </a:r>
            <a:endParaRPr lang="lv-LV" sz="2400" dirty="0">
              <a:latin typeface="Oswald" panose="00000500000000000000" pitchFamily="2" charset="-70"/>
            </a:endParaRPr>
          </a:p>
        </p:txBody>
      </p:sp>
      <p:sp>
        <p:nvSpPr>
          <p:cNvPr id="15" name="Virsraksts 1">
            <a:extLst>
              <a:ext uri="{FF2B5EF4-FFF2-40B4-BE49-F238E27FC236}">
                <a16:creationId xmlns:a16="http://schemas.microsoft.com/office/drawing/2014/main" id="{7CEB82FC-779E-4B81-A128-5B446DB50773}"/>
              </a:ext>
            </a:extLst>
          </p:cNvPr>
          <p:cNvSpPr txBox="1">
            <a:spLocks/>
          </p:cNvSpPr>
          <p:nvPr/>
        </p:nvSpPr>
        <p:spPr>
          <a:xfrm>
            <a:off x="1516561" y="1187302"/>
            <a:ext cx="6465661" cy="3965434"/>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spcBef>
                <a:spcPts val="0"/>
              </a:spcBef>
            </a:pPr>
            <a:endParaRPr lang="en-US" sz="1200" dirty="0">
              <a:solidFill>
                <a:schemeClr val="tx1"/>
              </a:solidFill>
              <a:latin typeface="Oswald" panose="00000500000000000000" pitchFamily="2" charset="-70"/>
            </a:endParaRPr>
          </a:p>
          <a:p>
            <a:pPr algn="ctr">
              <a:spcBef>
                <a:spcPts val="0"/>
              </a:spcBef>
            </a:pPr>
            <a:endParaRPr lang="lv-LV" sz="2400" dirty="0">
              <a:latin typeface="Oswald" panose="00000500000000000000" pitchFamily="2" charset="-70"/>
            </a:endParaRPr>
          </a:p>
          <a:p>
            <a:pPr algn="ctr"/>
            <a:r>
              <a:rPr lang="lv-LV" sz="2400" dirty="0">
                <a:latin typeface="Oswald" panose="00000500000000000000" pitchFamily="2" charset="-70"/>
                <a:ea typeface="Calibri" panose="020F0502020204030204" pitchFamily="34" charset="0"/>
              </a:rPr>
              <a:t> </a:t>
            </a:r>
            <a:endParaRPr lang="lv-LV" sz="2400" dirty="0">
              <a:latin typeface="Oswald" panose="00000500000000000000" pitchFamily="2" charset="-70"/>
            </a:endParaRPr>
          </a:p>
        </p:txBody>
      </p:sp>
      <p:sp>
        <p:nvSpPr>
          <p:cNvPr id="16" name="Virsraksts 1">
            <a:extLst>
              <a:ext uri="{FF2B5EF4-FFF2-40B4-BE49-F238E27FC236}">
                <a16:creationId xmlns:a16="http://schemas.microsoft.com/office/drawing/2014/main" id="{54120DA7-5922-48B3-9558-D502098311CA}"/>
              </a:ext>
            </a:extLst>
          </p:cNvPr>
          <p:cNvSpPr txBox="1">
            <a:spLocks/>
          </p:cNvSpPr>
          <p:nvPr/>
        </p:nvSpPr>
        <p:spPr>
          <a:xfrm>
            <a:off x="460747" y="370534"/>
            <a:ext cx="7369076" cy="401208"/>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spcBef>
                <a:spcPts val="1200"/>
              </a:spcBef>
            </a:pPr>
            <a:r>
              <a:rPr lang="lv-LV" sz="2000" b="1" dirty="0">
                <a:latin typeface="Oswald" panose="00000500000000000000" pitchFamily="2" charset="-70"/>
              </a:rPr>
              <a:t>Līgumu izpildes kontrole</a:t>
            </a:r>
            <a:endParaRPr lang="en-US" sz="2000" b="1" dirty="0">
              <a:latin typeface="Oswald" panose="00000500000000000000" pitchFamily="2" charset="-70"/>
            </a:endParaRPr>
          </a:p>
          <a:p>
            <a:pPr algn="ctr">
              <a:spcBef>
                <a:spcPts val="0"/>
              </a:spcBef>
            </a:pPr>
            <a:endParaRPr lang="en-US" sz="1200" dirty="0">
              <a:solidFill>
                <a:schemeClr val="tx1"/>
              </a:solidFill>
              <a:latin typeface="Oswald" panose="00000500000000000000" pitchFamily="2" charset="-70"/>
            </a:endParaRPr>
          </a:p>
          <a:p>
            <a:pPr algn="ctr">
              <a:spcBef>
                <a:spcPts val="0"/>
              </a:spcBef>
            </a:pPr>
            <a:endParaRPr lang="lv-LV" sz="2400" dirty="0">
              <a:latin typeface="Oswald" panose="00000500000000000000" pitchFamily="2" charset="-70"/>
            </a:endParaRPr>
          </a:p>
          <a:p>
            <a:pPr algn="ctr"/>
            <a:r>
              <a:rPr lang="lv-LV" sz="2400" dirty="0">
                <a:latin typeface="Oswald" panose="00000500000000000000" pitchFamily="2" charset="-70"/>
                <a:ea typeface="Calibri" panose="020F0502020204030204" pitchFamily="34" charset="0"/>
              </a:rPr>
              <a:t> </a:t>
            </a:r>
            <a:endParaRPr lang="lv-LV" sz="2400" dirty="0">
              <a:latin typeface="Oswald" panose="00000500000000000000" pitchFamily="2" charset="-70"/>
            </a:endParaRPr>
          </a:p>
        </p:txBody>
      </p:sp>
      <p:sp>
        <p:nvSpPr>
          <p:cNvPr id="18" name="Virsraksts 1">
            <a:extLst>
              <a:ext uri="{FF2B5EF4-FFF2-40B4-BE49-F238E27FC236}">
                <a16:creationId xmlns:a16="http://schemas.microsoft.com/office/drawing/2014/main" id="{3225800C-81FF-4581-980D-DCC7B45C8F99}"/>
              </a:ext>
            </a:extLst>
          </p:cNvPr>
          <p:cNvSpPr txBox="1">
            <a:spLocks/>
          </p:cNvSpPr>
          <p:nvPr/>
        </p:nvSpPr>
        <p:spPr>
          <a:xfrm>
            <a:off x="1364161" y="687572"/>
            <a:ext cx="6465661" cy="4339212"/>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spcBef>
                <a:spcPts val="0"/>
              </a:spcBef>
            </a:pPr>
            <a:endParaRPr lang="en-US" sz="1200" dirty="0">
              <a:solidFill>
                <a:schemeClr val="tx1"/>
              </a:solidFill>
              <a:latin typeface="Oswald" panose="00000500000000000000" pitchFamily="2" charset="-70"/>
            </a:endParaRPr>
          </a:p>
          <a:p>
            <a:pPr algn="ctr">
              <a:spcBef>
                <a:spcPts val="0"/>
              </a:spcBef>
            </a:pPr>
            <a:endParaRPr lang="lv-LV" sz="2400" dirty="0">
              <a:latin typeface="Oswald" panose="00000500000000000000" pitchFamily="2" charset="-70"/>
            </a:endParaRPr>
          </a:p>
          <a:p>
            <a:pPr algn="ctr"/>
            <a:r>
              <a:rPr lang="lv-LV" sz="2400" dirty="0">
                <a:latin typeface="Oswald" panose="00000500000000000000" pitchFamily="2" charset="-70"/>
                <a:ea typeface="Calibri" panose="020F0502020204030204" pitchFamily="34" charset="0"/>
              </a:rPr>
              <a:t> </a:t>
            </a:r>
            <a:endParaRPr lang="lv-LV" sz="2400" dirty="0">
              <a:latin typeface="Oswald" panose="00000500000000000000" pitchFamily="2" charset="-70"/>
            </a:endParaRPr>
          </a:p>
        </p:txBody>
      </p:sp>
      <p:sp>
        <p:nvSpPr>
          <p:cNvPr id="20" name="Virsraksts 1">
            <a:extLst>
              <a:ext uri="{FF2B5EF4-FFF2-40B4-BE49-F238E27FC236}">
                <a16:creationId xmlns:a16="http://schemas.microsoft.com/office/drawing/2014/main" id="{376EE723-28B5-442D-B026-8F32484E80CD}"/>
              </a:ext>
            </a:extLst>
          </p:cNvPr>
          <p:cNvSpPr txBox="1">
            <a:spLocks/>
          </p:cNvSpPr>
          <p:nvPr/>
        </p:nvSpPr>
        <p:spPr>
          <a:xfrm>
            <a:off x="1364161" y="771741"/>
            <a:ext cx="6465661" cy="4255043"/>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285750" indent="-285750" algn="just">
              <a:spcBef>
                <a:spcPts val="0"/>
              </a:spcBef>
              <a:buFont typeface="Wingdings" panose="05000000000000000000" pitchFamily="2" charset="2"/>
              <a:buChar char="Ø"/>
            </a:pPr>
            <a:r>
              <a:rPr lang="lv-LV" sz="1800" dirty="0">
                <a:solidFill>
                  <a:srgbClr val="000000"/>
                </a:solidFill>
                <a:effectLst/>
                <a:latin typeface="Oswald" panose="00000500000000000000" pitchFamily="2" charset="-70"/>
                <a:ea typeface="Calibri" panose="020F0502020204030204" pitchFamily="34" charset="0"/>
              </a:rPr>
              <a:t>Izstrādāt nedēļas ēdienkartes ar pilnas uzturvērtības aprēķiniem un kalkulāciju, kā arī tehnoloģiskās kartes, kurās ēdiena sortiments, enerģētiskā vērtība un uzturvērtība atbilst normatīvo aktu un skolas prasībām</a:t>
            </a:r>
            <a:r>
              <a:rPr lang="lv-LV" sz="1200" dirty="0">
                <a:effectLst/>
                <a:latin typeface="Oswald" panose="00000500000000000000" pitchFamily="2" charset="-70"/>
                <a:ea typeface="Calibri" panose="020F0502020204030204" pitchFamily="34" charset="0"/>
              </a:rPr>
              <a:t>.</a:t>
            </a:r>
          </a:p>
          <a:p>
            <a:pPr marL="285750" indent="-285750" algn="just">
              <a:spcBef>
                <a:spcPts val="0"/>
              </a:spcBef>
              <a:buFont typeface="Wingdings" panose="05000000000000000000" pitchFamily="2" charset="2"/>
              <a:buChar char="Ø"/>
            </a:pPr>
            <a:r>
              <a:rPr lang="lv-LV" sz="1800" dirty="0">
                <a:solidFill>
                  <a:srgbClr val="000000"/>
                </a:solidFill>
                <a:effectLst/>
                <a:latin typeface="Oswald" panose="00000500000000000000" pitchFamily="2" charset="-70"/>
                <a:ea typeface="Calibri" panose="020F0502020204030204" pitchFamily="34" charset="0"/>
                <a:cs typeface="Times New Roman" panose="02020603050405020304" pitchFamily="18" charset="0"/>
              </a:rPr>
              <a:t>Iesniegt skolai BL, NPKS, LPIA produktu ražotāju un audzētāju sarakstu, norādot to kontaktinformāciju.</a:t>
            </a:r>
          </a:p>
          <a:p>
            <a:pPr marL="285750" indent="-285750" algn="just">
              <a:spcBef>
                <a:spcPts val="0"/>
              </a:spcBef>
              <a:buFont typeface="Wingdings" panose="05000000000000000000" pitchFamily="2" charset="2"/>
              <a:buChar char="Ø"/>
            </a:pPr>
            <a:r>
              <a:rPr lang="lv-LV" sz="1800" dirty="0">
                <a:solidFill>
                  <a:srgbClr val="000000"/>
                </a:solidFill>
                <a:effectLst/>
                <a:latin typeface="Oswald" panose="00000500000000000000" pitchFamily="2" charset="-70"/>
                <a:ea typeface="Calibri" panose="020F0502020204030204" pitchFamily="34" charset="0"/>
              </a:rPr>
              <a:t>Izpildītājs var veikt BL, NPKS, LPIA  (Produktu sarakstā)  noradīto produktu maiņu, aizstājot ar ekvivalentiem (piem., vienu NPKS produktu var aizstāt pret citu NPKS produktu) vai kvalitatīvi labāku produktu (LPIA produktu vai NPKS produktu var aizstāt ar BL prasībām atbilstošu produktu).</a:t>
            </a:r>
            <a:endParaRPr lang="lv-LV" sz="1800" dirty="0">
              <a:effectLst/>
              <a:latin typeface="Oswald" panose="00000500000000000000" pitchFamily="2" charset="-70"/>
              <a:ea typeface="Calibri" panose="020F0502020204030204" pitchFamily="34" charset="0"/>
              <a:cs typeface="Times New Roman" panose="02020603050405020304" pitchFamily="18" charset="0"/>
            </a:endParaRPr>
          </a:p>
          <a:p>
            <a:pPr marL="285750" indent="-285750" algn="just">
              <a:spcBef>
                <a:spcPts val="0"/>
              </a:spcBef>
              <a:buFont typeface="Wingdings" panose="05000000000000000000" pitchFamily="2" charset="2"/>
              <a:buChar char="Ø"/>
            </a:pPr>
            <a:r>
              <a:rPr lang="lv-LV" sz="1800" dirty="0">
                <a:solidFill>
                  <a:srgbClr val="000000"/>
                </a:solidFill>
                <a:effectLst/>
                <a:latin typeface="Oswald" panose="00000500000000000000" pitchFamily="2" charset="-70"/>
                <a:ea typeface="Calibri" panose="020F0502020204030204" pitchFamily="34" charset="0"/>
              </a:rPr>
              <a:t>Līguma saistību neizpildes vai nepienācīgas izpildes gadījumā prasīt pienācīgu </a:t>
            </a:r>
            <a:r>
              <a:rPr lang="lv-LV" sz="1800" dirty="0">
                <a:solidFill>
                  <a:srgbClr val="000000"/>
                </a:solidFill>
                <a:latin typeface="Oswald" panose="00000500000000000000" pitchFamily="2" charset="-70"/>
                <a:ea typeface="Calibri" panose="020F0502020204030204" pitchFamily="34" charset="0"/>
              </a:rPr>
              <a:t>l</a:t>
            </a:r>
            <a:r>
              <a:rPr lang="lv-LV" sz="1800" dirty="0">
                <a:solidFill>
                  <a:srgbClr val="000000"/>
                </a:solidFill>
                <a:effectLst/>
                <a:latin typeface="Oswald" panose="00000500000000000000" pitchFamily="2" charset="-70"/>
                <a:ea typeface="Calibri" panose="020F0502020204030204" pitchFamily="34" charset="0"/>
              </a:rPr>
              <a:t>īguma izpildi un līgumsodu.</a:t>
            </a:r>
          </a:p>
          <a:p>
            <a:pPr marL="285750" indent="-285750" algn="just">
              <a:spcBef>
                <a:spcPts val="0"/>
              </a:spcBef>
              <a:buFont typeface="Wingdings" panose="05000000000000000000" pitchFamily="2" charset="2"/>
              <a:buChar char="Ø"/>
            </a:pPr>
            <a:r>
              <a:rPr lang="lv-LV" sz="1800" dirty="0">
                <a:solidFill>
                  <a:srgbClr val="000000"/>
                </a:solidFill>
                <a:latin typeface="Oswald" panose="00000500000000000000" pitchFamily="2" charset="-70"/>
              </a:rPr>
              <a:t>Civiltiesiskās atbildības apdrošināšana par sniegtajiem pakalpojumiem un saražoto/izplatīto produkciju. </a:t>
            </a:r>
          </a:p>
          <a:p>
            <a:pPr algn="ctr">
              <a:spcBef>
                <a:spcPts val="0"/>
              </a:spcBef>
            </a:pPr>
            <a:endParaRPr lang="en-US" sz="1200" dirty="0">
              <a:solidFill>
                <a:schemeClr val="tx1"/>
              </a:solidFill>
              <a:latin typeface="Oswald" panose="00000500000000000000" pitchFamily="2" charset="-70"/>
            </a:endParaRPr>
          </a:p>
          <a:p>
            <a:pPr algn="ctr">
              <a:spcBef>
                <a:spcPts val="0"/>
              </a:spcBef>
            </a:pPr>
            <a:endParaRPr lang="lv-LV" sz="2400" dirty="0">
              <a:latin typeface="Oswald" panose="00000500000000000000" pitchFamily="2" charset="-70"/>
            </a:endParaRPr>
          </a:p>
          <a:p>
            <a:pPr algn="ctr"/>
            <a:r>
              <a:rPr lang="lv-LV" sz="2400" dirty="0">
                <a:latin typeface="Oswald" panose="00000500000000000000" pitchFamily="2" charset="-70"/>
                <a:ea typeface="Calibri" panose="020F0502020204030204" pitchFamily="34" charset="0"/>
              </a:rPr>
              <a:t> </a:t>
            </a:r>
            <a:endParaRPr lang="lv-LV" sz="2400" dirty="0">
              <a:latin typeface="Oswald" panose="00000500000000000000" pitchFamily="2" charset="-70"/>
            </a:endParaRPr>
          </a:p>
        </p:txBody>
      </p:sp>
    </p:spTree>
    <p:extLst>
      <p:ext uri="{BB962C8B-B14F-4D97-AF65-F5344CB8AC3E}">
        <p14:creationId xmlns:p14="http://schemas.microsoft.com/office/powerpoint/2010/main" val="29127544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barn(outVertical)">
                                      <p:cBhvr>
                                        <p:cTn id="11" dur="500"/>
                                        <p:tgtEl>
                                          <p:spTgt spid="4"/>
                                        </p:tgtEl>
                                      </p:cBhvr>
                                    </p:animEffect>
                                  </p:childTnLst>
                                </p:cTn>
                              </p:par>
                            </p:childTnLst>
                          </p:cTn>
                        </p:par>
                        <p:par>
                          <p:cTn id="12" fill="hold">
                            <p:stCondLst>
                              <p:cond delay="1000"/>
                            </p:stCondLst>
                            <p:childTnLst>
                              <p:par>
                                <p:cTn id="13" presetID="37"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1000"/>
                                        <p:tgtEl>
                                          <p:spTgt spid="2"/>
                                        </p:tgtEl>
                                      </p:cBhvr>
                                    </p:animEffect>
                                    <p:anim calcmode="lin" valueType="num">
                                      <p:cBhvr>
                                        <p:cTn id="16" dur="1000" fill="hold"/>
                                        <p:tgtEl>
                                          <p:spTgt spid="2"/>
                                        </p:tgtEl>
                                        <p:attrNameLst>
                                          <p:attrName>ppt_x</p:attrName>
                                        </p:attrNameLst>
                                      </p:cBhvr>
                                      <p:tavLst>
                                        <p:tav tm="0">
                                          <p:val>
                                            <p:strVal val="#ppt_x"/>
                                          </p:val>
                                        </p:tav>
                                        <p:tav tm="100000">
                                          <p:val>
                                            <p:strVal val="#ppt_x"/>
                                          </p:val>
                                        </p:tav>
                                      </p:tavLst>
                                    </p:anim>
                                    <p:anim calcmode="lin" valueType="num">
                                      <p:cBhvr>
                                        <p:cTn id="17" dur="900" decel="100000" fill="hold"/>
                                        <p:tgtEl>
                                          <p:spTgt spid="2"/>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2"/>
                                        </p:tgtEl>
                                        <p:attrNameLst>
                                          <p:attrName>ppt_y</p:attrName>
                                        </p:attrNameLst>
                                      </p:cBhvr>
                                      <p:tavLst>
                                        <p:tav tm="0">
                                          <p:val>
                                            <p:strVal val="#ppt_y-.03"/>
                                          </p:val>
                                        </p:tav>
                                        <p:tav tm="100000">
                                          <p:val>
                                            <p:strVal val="#ppt_y"/>
                                          </p:val>
                                        </p:tav>
                                      </p:tavLst>
                                    </p:anim>
                                  </p:childTnLst>
                                </p:cTn>
                              </p:par>
                            </p:childTnLst>
                          </p:cTn>
                        </p:par>
                        <p:par>
                          <p:cTn id="19" fill="hold">
                            <p:stCondLst>
                              <p:cond delay="2000"/>
                            </p:stCondLst>
                            <p:childTnLst>
                              <p:par>
                                <p:cTn id="20" presetID="37"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900" decel="100000" fill="hold"/>
                                        <p:tgtEl>
                                          <p:spTgt spid="3"/>
                                        </p:tgtEl>
                                        <p:attrNameLst>
                                          <p:attrName>ppt_y</p:attrName>
                                        </p:attrNameLst>
                                      </p:cBhvr>
                                      <p:tavLst>
                                        <p:tav tm="0">
                                          <p:val>
                                            <p:strVal val="#ppt_y+1"/>
                                          </p:val>
                                        </p:tav>
                                        <p:tav tm="100000">
                                          <p:val>
                                            <p:strVal val="#ppt_y-.03"/>
                                          </p:val>
                                        </p:tav>
                                      </p:tavLst>
                                    </p:anim>
                                    <p:anim calcmode="lin" valueType="num">
                                      <p:cBhvr>
                                        <p:cTn id="25" dur="100" accel="100000" fill="hold">
                                          <p:stCondLst>
                                            <p:cond delay="900"/>
                                          </p:stCondLst>
                                        </p:cTn>
                                        <p:tgtEl>
                                          <p:spTgt spid="3"/>
                                        </p:tgtEl>
                                        <p:attrNameLst>
                                          <p:attrName>ppt_y</p:attrName>
                                        </p:attrNameLst>
                                      </p:cBhvr>
                                      <p:tavLst>
                                        <p:tav tm="0">
                                          <p:val>
                                            <p:strVal val="#ppt_y-.03"/>
                                          </p:val>
                                        </p:tav>
                                        <p:tav tm="100000">
                                          <p:val>
                                            <p:strVal val="#ppt_y"/>
                                          </p:val>
                                        </p:tav>
                                      </p:tavLst>
                                    </p:anim>
                                  </p:childTnLst>
                                </p:cTn>
                              </p:par>
                            </p:childTnLst>
                          </p:cTn>
                        </p:par>
                        <p:par>
                          <p:cTn id="26" fill="hold">
                            <p:stCondLst>
                              <p:cond delay="3000"/>
                            </p:stCondLst>
                            <p:childTnLst>
                              <p:par>
                                <p:cTn id="27" presetID="16" presetClass="entr" presetSubtype="21" fill="hold" grpId="0" nodeType="after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barn(inVertical)">
                                      <p:cBhvr>
                                        <p:cTn id="29" dur="500"/>
                                        <p:tgtEl>
                                          <p:spTgt spid="41"/>
                                        </p:tgtEl>
                                      </p:cBhvr>
                                    </p:animEffect>
                                  </p:childTnLst>
                                </p:cTn>
                              </p:par>
                            </p:childTnLst>
                          </p:cTn>
                        </p:par>
                        <p:par>
                          <p:cTn id="30" fill="hold">
                            <p:stCondLst>
                              <p:cond delay="3500"/>
                            </p:stCondLst>
                            <p:childTnLst>
                              <p:par>
                                <p:cTn id="31" presetID="22" presetClass="entr" presetSubtype="1" fill="hold"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up)">
                                      <p:cBhvr>
                                        <p:cTn id="3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C83A5C14-ED91-4CD1-809E-D29FF97C9A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56065185-5C34-4F86-AA96-AA4D065B0E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5818" y="0"/>
            <a:ext cx="7472363" cy="51435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01600" sx="102000" sy="102000" algn="ctr"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Attēls 1" descr="A digital balance scale using circles">
            <a:extLst>
              <a:ext uri="{FF2B5EF4-FFF2-40B4-BE49-F238E27FC236}">
                <a16:creationId xmlns:a16="http://schemas.microsoft.com/office/drawing/2014/main" id="{35B6DF94-23BE-4448-BCCD-DF82574433D5}"/>
              </a:ext>
            </a:extLst>
          </p:cNvPr>
          <p:cNvPicPr>
            <a:picLocks noChangeAspect="1"/>
          </p:cNvPicPr>
          <p:nvPr/>
        </p:nvPicPr>
        <p:blipFill rotWithShape="1">
          <a:blip r:embed="rId2">
            <a:extLst>
              <a:ext uri="{28A0092B-C50C-407E-A947-70E740481C1C}">
                <a14:useLocalDpi xmlns:a14="http://schemas.microsoft.com/office/drawing/2010/main" val="0"/>
              </a:ext>
            </a:extLst>
          </a:blip>
          <a:srcRect l="7620" r="4487"/>
          <a:stretch/>
        </p:blipFill>
        <p:spPr>
          <a:xfrm>
            <a:off x="835819" y="10"/>
            <a:ext cx="7472362" cy="5143490"/>
          </a:xfrm>
          <a:custGeom>
            <a:avLst/>
            <a:gdLst/>
            <a:ahLst/>
            <a:cxnLst/>
            <a:rect l="l" t="t" r="r" b="b"/>
            <a:pathLst>
              <a:path w="9948672" h="6858000">
                <a:moveTo>
                  <a:pt x="1593452" y="0"/>
                </a:moveTo>
                <a:lnTo>
                  <a:pt x="8355220" y="0"/>
                </a:lnTo>
                <a:lnTo>
                  <a:pt x="8491722" y="130333"/>
                </a:lnTo>
                <a:cubicBezTo>
                  <a:pt x="9391900" y="1031820"/>
                  <a:pt x="9948672" y="2277214"/>
                  <a:pt x="9948672" y="3652838"/>
                </a:cubicBezTo>
                <a:cubicBezTo>
                  <a:pt x="9948672" y="4856509"/>
                  <a:pt x="9522393" y="5960473"/>
                  <a:pt x="8812775" y="6821583"/>
                </a:cubicBezTo>
                <a:lnTo>
                  <a:pt x="8781276" y="6858000"/>
                </a:lnTo>
                <a:lnTo>
                  <a:pt x="1167397" y="6858000"/>
                </a:lnTo>
                <a:lnTo>
                  <a:pt x="1135897" y="6821583"/>
                </a:lnTo>
                <a:cubicBezTo>
                  <a:pt x="426279" y="5960473"/>
                  <a:pt x="0" y="4856509"/>
                  <a:pt x="0" y="3652838"/>
                </a:cubicBezTo>
                <a:cubicBezTo>
                  <a:pt x="0" y="2277214"/>
                  <a:pt x="556772" y="1031820"/>
                  <a:pt x="1456950" y="130333"/>
                </a:cubicBezTo>
                <a:close/>
              </a:path>
            </a:pathLst>
          </a:custGeom>
        </p:spPr>
      </p:pic>
      <p:sp>
        <p:nvSpPr>
          <p:cNvPr id="5" name="TextBox 4">
            <a:extLst>
              <a:ext uri="{FF2B5EF4-FFF2-40B4-BE49-F238E27FC236}">
                <a16:creationId xmlns:a16="http://schemas.microsoft.com/office/drawing/2014/main" id="{5406A438-D8E5-47AF-8400-1505363EE6FD}"/>
              </a:ext>
            </a:extLst>
          </p:cNvPr>
          <p:cNvSpPr txBox="1"/>
          <p:nvPr/>
        </p:nvSpPr>
        <p:spPr>
          <a:xfrm>
            <a:off x="1670019" y="3877032"/>
            <a:ext cx="5662193" cy="640368"/>
          </a:xfrm>
          <a:prstGeom prst="rect">
            <a:avLst/>
          </a:prstGeom>
          <a:noFill/>
        </p:spPr>
        <p:txBody>
          <a:bodyPr wrap="square" lIns="68580" tIns="34290" rIns="68580" bIns="34290" rtlCol="0">
            <a:spAutoFit/>
          </a:bodyPr>
          <a:lstStyle/>
          <a:p>
            <a:pPr algn="ctr">
              <a:lnSpc>
                <a:spcPct val="110000"/>
              </a:lnSpc>
            </a:pPr>
            <a:r>
              <a:rPr lang="lv-LV" sz="3600" dirty="0">
                <a:solidFill>
                  <a:schemeClr val="bg1"/>
                </a:solidFill>
                <a:latin typeface="+mj-lt"/>
              </a:rPr>
              <a:t>Paldies par uzmanību!</a:t>
            </a:r>
            <a:endParaRPr lang="en-US" sz="3600" dirty="0">
              <a:solidFill>
                <a:schemeClr val="bg1"/>
              </a:solidFill>
              <a:latin typeface="+mj-lt"/>
            </a:endParaRPr>
          </a:p>
        </p:txBody>
      </p:sp>
      <p:sp>
        <p:nvSpPr>
          <p:cNvPr id="6" name="TextBox 5">
            <a:extLst>
              <a:ext uri="{FF2B5EF4-FFF2-40B4-BE49-F238E27FC236}">
                <a16:creationId xmlns:a16="http://schemas.microsoft.com/office/drawing/2014/main" id="{E3326429-E1D4-410F-9AE8-FDACF8E43C41}"/>
              </a:ext>
            </a:extLst>
          </p:cNvPr>
          <p:cNvSpPr txBox="1"/>
          <p:nvPr/>
        </p:nvSpPr>
        <p:spPr>
          <a:xfrm>
            <a:off x="1811788" y="4462593"/>
            <a:ext cx="5662193" cy="735714"/>
          </a:xfrm>
          <a:prstGeom prst="rect">
            <a:avLst/>
          </a:prstGeom>
          <a:noFill/>
        </p:spPr>
        <p:txBody>
          <a:bodyPr wrap="square" lIns="68580" tIns="34290" rIns="68580" bIns="34290" rtlCol="0">
            <a:spAutoFit/>
          </a:bodyPr>
          <a:lstStyle/>
          <a:p>
            <a:pPr algn="ctr">
              <a:lnSpc>
                <a:spcPct val="110000"/>
              </a:lnSpc>
            </a:pPr>
            <a:r>
              <a:rPr lang="lv-LV" sz="1000" dirty="0">
                <a:solidFill>
                  <a:schemeClr val="bg1"/>
                </a:solidFill>
                <a:latin typeface="+mj-lt"/>
              </a:rPr>
              <a:t>Kristīne Graudumniece</a:t>
            </a:r>
          </a:p>
          <a:p>
            <a:pPr algn="ctr">
              <a:lnSpc>
                <a:spcPct val="110000"/>
              </a:lnSpc>
            </a:pPr>
            <a:r>
              <a:rPr lang="lv-LV" sz="1000" dirty="0">
                <a:solidFill>
                  <a:schemeClr val="bg1"/>
                </a:solidFill>
                <a:latin typeface="+mj-lt"/>
              </a:rPr>
              <a:t>Rīgas domes Izglītības, kultūras un sporta departaments</a:t>
            </a:r>
          </a:p>
          <a:p>
            <a:pPr algn="ctr">
              <a:lnSpc>
                <a:spcPct val="110000"/>
              </a:lnSpc>
            </a:pPr>
            <a:r>
              <a:rPr lang="lv-LV" sz="1000" dirty="0">
                <a:solidFill>
                  <a:schemeClr val="bg1"/>
                </a:solidFill>
                <a:latin typeface="+mj-lt"/>
              </a:rPr>
              <a:t>E-pasts </a:t>
            </a:r>
            <a:r>
              <a:rPr lang="lv-LV" sz="1000" dirty="0">
                <a:solidFill>
                  <a:schemeClr val="bg1"/>
                </a:solidFill>
                <a:latin typeface="+mj-lt"/>
                <a:hlinkClick r:id="rId3"/>
              </a:rPr>
              <a:t>kristine.graudumniece@riga.lv</a:t>
            </a:r>
            <a:endParaRPr lang="lv-LV" sz="1000" dirty="0">
              <a:solidFill>
                <a:schemeClr val="bg1"/>
              </a:solidFill>
              <a:latin typeface="+mj-lt"/>
            </a:endParaRPr>
          </a:p>
          <a:p>
            <a:pPr algn="ctr">
              <a:lnSpc>
                <a:spcPct val="110000"/>
              </a:lnSpc>
            </a:pPr>
            <a:endParaRPr lang="en-US" sz="1000" dirty="0">
              <a:solidFill>
                <a:schemeClr val="bg1"/>
              </a:solidFill>
              <a:latin typeface="+mj-lt"/>
            </a:endParaRPr>
          </a:p>
        </p:txBody>
      </p:sp>
    </p:spTree>
    <p:extLst>
      <p:ext uri="{BB962C8B-B14F-4D97-AF65-F5344CB8AC3E}">
        <p14:creationId xmlns:p14="http://schemas.microsoft.com/office/powerpoint/2010/main" val="711310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900" decel="100000" fill="hold"/>
                                        <p:tgtEl>
                                          <p:spTgt spid="5"/>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5"/>
                                        </p:tgtEl>
                                        <p:attrNameLst>
                                          <p:attrName>ppt_y</p:attrName>
                                        </p:attrNameLst>
                                      </p:cBhvr>
                                      <p:tavLst>
                                        <p:tav tm="0">
                                          <p:val>
                                            <p:strVal val="#ppt_y-.03"/>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37"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anim calcmode="lin" valueType="num">
                                      <p:cBhvr>
                                        <p:cTn id="16" dur="1000" fill="hold"/>
                                        <p:tgtEl>
                                          <p:spTgt spid="6"/>
                                        </p:tgtEl>
                                        <p:attrNameLst>
                                          <p:attrName>ppt_x</p:attrName>
                                        </p:attrNameLst>
                                      </p:cBhvr>
                                      <p:tavLst>
                                        <p:tav tm="0">
                                          <p:val>
                                            <p:strVal val="#ppt_x"/>
                                          </p:val>
                                        </p:tav>
                                        <p:tav tm="100000">
                                          <p:val>
                                            <p:strVal val="#ppt_x"/>
                                          </p:val>
                                        </p:tav>
                                      </p:tavLst>
                                    </p:anim>
                                    <p:anim calcmode="lin" valueType="num">
                                      <p:cBhvr>
                                        <p:cTn id="17" dur="900" decel="100000" fill="hold"/>
                                        <p:tgtEl>
                                          <p:spTgt spid="6"/>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theme1.xml><?xml version="1.0" encoding="utf-8"?>
<a:theme xmlns:a="http://schemas.openxmlformats.org/drawingml/2006/main" name="Office Theme">
  <a:themeElements>
    <a:clrScheme name="Custom 87">
      <a:dk1>
        <a:sysClr val="windowText" lastClr="000000"/>
      </a:dk1>
      <a:lt1>
        <a:sysClr val="window" lastClr="FFFFFF"/>
      </a:lt1>
      <a:dk2>
        <a:srgbClr val="44546A"/>
      </a:dk2>
      <a:lt2>
        <a:srgbClr val="E7E6E6"/>
      </a:lt2>
      <a:accent1>
        <a:srgbClr val="A1ECD7"/>
      </a:accent1>
      <a:accent2>
        <a:srgbClr val="4DA9DD"/>
      </a:accent2>
      <a:accent3>
        <a:srgbClr val="2E8CD4"/>
      </a:accent3>
      <a:accent4>
        <a:srgbClr val="1C659F"/>
      </a:accent4>
      <a:accent5>
        <a:srgbClr val="135285"/>
      </a:accent5>
      <a:accent6>
        <a:srgbClr val="145CA0"/>
      </a:accent6>
      <a:hlink>
        <a:srgbClr val="0563C1"/>
      </a:hlink>
      <a:folHlink>
        <a:srgbClr val="954F72"/>
      </a:folHlink>
    </a:clrScheme>
    <a:fontScheme name="Custom 10">
      <a:majorFont>
        <a:latin typeface="Montserrat"/>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38</TotalTime>
  <Words>807</Words>
  <Application>Microsoft Office PowerPoint</Application>
  <PresentationFormat>Slaidrāde ekrānā (16:9)</PresentationFormat>
  <Paragraphs>85</Paragraphs>
  <Slides>9</Slides>
  <Notes>0</Notes>
  <HiddenSlides>0</HiddenSlides>
  <MMClips>0</MMClips>
  <ScaleCrop>false</ScaleCrop>
  <HeadingPairs>
    <vt:vector size="6" baseType="variant">
      <vt:variant>
        <vt:lpstr>Lietotie fonti</vt:lpstr>
      </vt:variant>
      <vt:variant>
        <vt:i4>9</vt:i4>
      </vt:variant>
      <vt:variant>
        <vt:lpstr>Dizains</vt:lpstr>
      </vt:variant>
      <vt:variant>
        <vt:i4>1</vt:i4>
      </vt:variant>
      <vt:variant>
        <vt:lpstr>Slaidu virsraksti</vt:lpstr>
      </vt:variant>
      <vt:variant>
        <vt:i4>9</vt:i4>
      </vt:variant>
    </vt:vector>
  </HeadingPairs>
  <TitlesOfParts>
    <vt:vector size="19" baseType="lpstr">
      <vt:lpstr>Arial</vt:lpstr>
      <vt:lpstr>Calibri</vt:lpstr>
      <vt:lpstr>Montserrat</vt:lpstr>
      <vt:lpstr>Montserrat Regular</vt:lpstr>
      <vt:lpstr>Montserrat SemiBold</vt:lpstr>
      <vt:lpstr>Oswald</vt:lpstr>
      <vt:lpstr>Raleway</vt:lpstr>
      <vt:lpstr>Source Sans Pro</vt:lpstr>
      <vt:lpstr>Wingdings</vt:lpstr>
      <vt:lpstr>Office Theme</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Kristīne Graudumniece</cp:lastModifiedBy>
  <cp:revision>418</cp:revision>
  <dcterms:created xsi:type="dcterms:W3CDTF">2017-05-12T02:32:22Z</dcterms:created>
  <dcterms:modified xsi:type="dcterms:W3CDTF">2021-11-15T09:19:07Z</dcterms:modified>
</cp:coreProperties>
</file>